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8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5" r:id="rId2"/>
    <p:sldMasterId id="2147483805" r:id="rId3"/>
    <p:sldMasterId id="2147483858" r:id="rId4"/>
    <p:sldMasterId id="2147483864" r:id="rId5"/>
    <p:sldMasterId id="2147483991" r:id="rId6"/>
    <p:sldMasterId id="2147483996" r:id="rId7"/>
    <p:sldMasterId id="2147484012" r:id="rId8"/>
    <p:sldMasterId id="2147484038" r:id="rId9"/>
  </p:sldMasterIdLst>
  <p:notesMasterIdLst>
    <p:notesMasterId r:id="rId42"/>
  </p:notesMasterIdLst>
  <p:handoutMasterIdLst>
    <p:handoutMasterId r:id="rId43"/>
  </p:handoutMasterIdLst>
  <p:sldIdLst>
    <p:sldId id="308" r:id="rId10"/>
    <p:sldId id="1624" r:id="rId11"/>
    <p:sldId id="1626" r:id="rId12"/>
    <p:sldId id="1625" r:id="rId13"/>
    <p:sldId id="1627" r:id="rId14"/>
    <p:sldId id="1628" r:id="rId15"/>
    <p:sldId id="1629" r:id="rId16"/>
    <p:sldId id="1630" r:id="rId17"/>
    <p:sldId id="1631" r:id="rId18"/>
    <p:sldId id="1632" r:id="rId19"/>
    <p:sldId id="1635" r:id="rId20"/>
    <p:sldId id="1636" r:id="rId21"/>
    <p:sldId id="1637" r:id="rId22"/>
    <p:sldId id="1633" r:id="rId23"/>
    <p:sldId id="1614" r:id="rId24"/>
    <p:sldId id="373" r:id="rId25"/>
    <p:sldId id="1634" r:id="rId26"/>
    <p:sldId id="1615" r:id="rId27"/>
    <p:sldId id="1621" r:id="rId28"/>
    <p:sldId id="1616" r:id="rId29"/>
    <p:sldId id="1622" r:id="rId30"/>
    <p:sldId id="1612" r:id="rId31"/>
    <p:sldId id="1617" r:id="rId32"/>
    <p:sldId id="309" r:id="rId33"/>
    <p:sldId id="1639" r:id="rId34"/>
    <p:sldId id="1642" r:id="rId35"/>
    <p:sldId id="1643" r:id="rId36"/>
    <p:sldId id="1644" r:id="rId37"/>
    <p:sldId id="1640" r:id="rId38"/>
    <p:sldId id="1641" r:id="rId39"/>
    <p:sldId id="1595" r:id="rId40"/>
    <p:sldId id="297" r:id="rId41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uide" id="{99AEC019-3003-4FF1-901A-4E10A76854F9}">
          <p14:sldIdLst/>
        </p14:section>
        <p14:section name="★ PPT_Template" id="{E8CA9A6E-77A3-4C02-BF48-34064082923A}">
          <p14:sldIdLst>
            <p14:sldId id="308"/>
            <p14:sldId id="1624"/>
            <p14:sldId id="1626"/>
            <p14:sldId id="1625"/>
            <p14:sldId id="1627"/>
            <p14:sldId id="1628"/>
            <p14:sldId id="1629"/>
            <p14:sldId id="1630"/>
            <p14:sldId id="1631"/>
            <p14:sldId id="1632"/>
            <p14:sldId id="1635"/>
            <p14:sldId id="1636"/>
            <p14:sldId id="1637"/>
            <p14:sldId id="1633"/>
            <p14:sldId id="1614"/>
            <p14:sldId id="373"/>
            <p14:sldId id="1634"/>
            <p14:sldId id="1615"/>
            <p14:sldId id="1621"/>
            <p14:sldId id="1616"/>
            <p14:sldId id="1622"/>
            <p14:sldId id="1612"/>
            <p14:sldId id="1617"/>
            <p14:sldId id="309"/>
            <p14:sldId id="1639"/>
            <p14:sldId id="1642"/>
            <p14:sldId id="1643"/>
            <p14:sldId id="1644"/>
            <p14:sldId id="1640"/>
            <p14:sldId id="1641"/>
            <p14:sldId id="1595"/>
            <p14:sldId id="297"/>
          </p14:sldIdLst>
        </p14:section>
        <p14:section name="Screen_Layout (Reference)" id="{E77577F3-B540-43D1-84DD-B0221DF28DC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2C51"/>
    <a:srgbClr val="B7472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31" autoAdjust="0"/>
    <p:restoredTop sz="95361"/>
  </p:normalViewPr>
  <p:slideViewPr>
    <p:cSldViewPr snapToGrid="0">
      <p:cViewPr>
        <p:scale>
          <a:sx n="100" d="100"/>
          <a:sy n="100" d="100"/>
        </p:scale>
        <p:origin x="968" y="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5" d="100"/>
        <a:sy n="135" d="100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3840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heme" Target="theme/theme1.xml"/><Relationship Id="rId47" Type="http://schemas.openxmlformats.org/officeDocument/2006/relationships/tableStyles" Target="tableStyles.xml"/><Relationship Id="rId20" Type="http://schemas.openxmlformats.org/officeDocument/2006/relationships/slide" Target="slides/slide11.xml"/><Relationship Id="rId21" Type="http://schemas.openxmlformats.org/officeDocument/2006/relationships/slide" Target="slides/slide12.xml"/><Relationship Id="rId22" Type="http://schemas.openxmlformats.org/officeDocument/2006/relationships/slide" Target="slides/slide13.xml"/><Relationship Id="rId23" Type="http://schemas.openxmlformats.org/officeDocument/2006/relationships/slide" Target="slides/slide14.xml"/><Relationship Id="rId24" Type="http://schemas.openxmlformats.org/officeDocument/2006/relationships/slide" Target="slides/slide15.xml"/><Relationship Id="rId25" Type="http://schemas.openxmlformats.org/officeDocument/2006/relationships/slide" Target="slides/slide16.xml"/><Relationship Id="rId26" Type="http://schemas.openxmlformats.org/officeDocument/2006/relationships/slide" Target="slides/slide17.xml"/><Relationship Id="rId27" Type="http://schemas.openxmlformats.org/officeDocument/2006/relationships/slide" Target="slides/slide18.xml"/><Relationship Id="rId28" Type="http://schemas.openxmlformats.org/officeDocument/2006/relationships/slide" Target="slides/slide19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21.xml"/><Relationship Id="rId31" Type="http://schemas.openxmlformats.org/officeDocument/2006/relationships/slide" Target="slides/slide22.xml"/><Relationship Id="rId32" Type="http://schemas.openxmlformats.org/officeDocument/2006/relationships/slide" Target="slides/slide23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slide" Target="slides/slide24.xml"/><Relationship Id="rId34" Type="http://schemas.openxmlformats.org/officeDocument/2006/relationships/slide" Target="slides/slide25.xml"/><Relationship Id="rId35" Type="http://schemas.openxmlformats.org/officeDocument/2006/relationships/slide" Target="slides/slide26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1" Type="http://schemas.openxmlformats.org/officeDocument/2006/relationships/slide" Target="slides/slide2.xml"/><Relationship Id="rId12" Type="http://schemas.openxmlformats.org/officeDocument/2006/relationships/slide" Target="slides/slide3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Relationship Id="rId18" Type="http://schemas.openxmlformats.org/officeDocument/2006/relationships/slide" Target="slides/slide9.xml"/><Relationship Id="rId19" Type="http://schemas.openxmlformats.org/officeDocument/2006/relationships/slide" Target="slides/slide10.xml"/><Relationship Id="rId37" Type="http://schemas.openxmlformats.org/officeDocument/2006/relationships/slide" Target="slides/slide28.xml"/><Relationship Id="rId38" Type="http://schemas.openxmlformats.org/officeDocument/2006/relationships/slide" Target="slides/slide29.xml"/><Relationship Id="rId39" Type="http://schemas.openxmlformats.org/officeDocument/2006/relationships/slide" Target="slides/slide30.xml"/><Relationship Id="rId40" Type="http://schemas.openxmlformats.org/officeDocument/2006/relationships/slide" Target="slides/slide31.xml"/><Relationship Id="rId41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3" Type="http://schemas.openxmlformats.org/officeDocument/2006/relationships/handoutMaster" Target="handoutMasters/handoutMaster1.xml"/><Relationship Id="rId44" Type="http://schemas.openxmlformats.org/officeDocument/2006/relationships/presProps" Target="presProps.xml"/><Relationship Id="rId4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xmlns="" id="{4EA05F37-138B-D056-3D7E-3225CC64FF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F781137D-6B30-AEAE-9558-E3E98132433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9DAA95-AE8A-1C40-BFF0-0B6FCB9BD86E}" type="datetimeFigureOut">
              <a:rPr lang="en-CA" smtClean="0"/>
              <a:t>2023-12-08</a:t>
            </a:fld>
            <a:endParaRPr lang="en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E2BD40C6-0998-AFA1-2E27-41B45319B5D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9C5654A9-1C27-A059-5ED7-92695A91B1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E1EABD-035E-5C45-8EB0-11515C76E80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59893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2914D-5899-C941-922D-01306A6F8DCF}" type="datetimeFigureOut">
              <a:rPr lang="fr-FR" smtClean="0"/>
              <a:t>08/12/2023</a:t>
            </a:fld>
            <a:endParaRPr lang="fr-FR" dirty="0"/>
          </a:p>
        </p:txBody>
      </p:sp>
      <p:sp>
        <p:nvSpPr>
          <p:cNvPr id="4" name="Espace réservé de l'image de diapositiv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483BF6-DD12-0046-BD1A-B591D996A6C8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0173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Relationship Id="rId3" Type="http://schemas.openxmlformats.org/officeDocument/2006/relationships/hyperlink" Target="https://tinyurl.com/gflownet-tutorial" TargetMode="Externa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" name="Google Shape;1107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08" name="Google Shape;1108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fr-CA" b="0" i="0" dirty="0" smtClean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45min</a:t>
            </a:r>
            <a:r>
              <a:rPr lang="fr-CA" b="0" i="0" baseline="0" dirty="0" smtClean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fr-CA" b="0" i="0" baseline="0" dirty="0" smtClean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+ 15 min </a:t>
            </a:r>
            <a:r>
              <a:rPr lang="fr-CA" b="0" i="0" baseline="0" dirty="0" err="1" smtClean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q&amp;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09500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nclude</a:t>
            </a:r>
            <a:r>
              <a:rPr lang="fr-FR" dirty="0"/>
              <a:t> </a:t>
            </a:r>
            <a:r>
              <a:rPr lang="fr-FR" dirty="0" err="1"/>
              <a:t>such</a:t>
            </a:r>
            <a:r>
              <a:rPr lang="fr-FR" baseline="0" dirty="0"/>
              <a:t> a </a:t>
            </a:r>
            <a:r>
              <a:rPr lang="fr-FR" baseline="0" dirty="0" err="1"/>
              <a:t>list</a:t>
            </a:r>
            <a:r>
              <a:rPr lang="fr-FR" baseline="0" dirty="0"/>
              <a:t> at the </a:t>
            </a:r>
            <a:r>
              <a:rPr lang="fr-FR" baseline="0" dirty="0" err="1"/>
              <a:t>beginning</a:t>
            </a:r>
            <a:r>
              <a:rPr lang="fr-FR" baseline="0" dirty="0"/>
              <a:t> and as </a:t>
            </a:r>
            <a:r>
              <a:rPr lang="fr-FR" baseline="0" dirty="0" err="1"/>
              <a:t>reminder</a:t>
            </a:r>
            <a:r>
              <a:rPr lang="fr-FR" baseline="0" dirty="0"/>
              <a:t> </a:t>
            </a:r>
            <a:r>
              <a:rPr lang="fr-FR" baseline="0" dirty="0" err="1"/>
              <a:t>along</a:t>
            </a:r>
            <a:r>
              <a:rPr lang="fr-FR" baseline="0" dirty="0"/>
              <a:t> the </a:t>
            </a:r>
            <a:r>
              <a:rPr lang="fr-FR" baseline="0" dirty="0" err="1"/>
              <a:t>way</a:t>
            </a:r>
            <a:r>
              <a:rPr lang="fr-FR" baseline="0" dirty="0"/>
              <a:t>, roadmap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05826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hlinkClick r:id="rId3"/>
              </a:rPr>
              <a:t>https://tinyurl.com/gflownet-tutorial</a:t>
            </a:r>
            <a:endParaRPr lang="fr-FR" sz="12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47612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" name="Google Shape;401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2" name="Google Shape;402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24341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8" name="Google Shape;1238;g28cd0144fb2_1_25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9" name="Google Shape;1239;g28cd0144fb2_1_2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945995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4" name="Google Shape;1244;g283b4fd5caa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45" name="Google Shape;1245;g283b4fd5caa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407045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" name="Google Shape;1253;g283b4fd5caa_0_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4" name="Google Shape;1254;g283b4fd5caa_0_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010723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g283b4fd5caa_0_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4" name="Google Shape;1264;g283b4fd5caa_0_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856758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0" name="Google Shape;16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1402926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5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04" name="Google Shape;404;p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626014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10656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Relationship Id="rId3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8.jpe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Relationship Id="rId3" Type="http://schemas.openxmlformats.org/officeDocument/2006/relationships/image" Target="../media/image4.jpe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Relationship Id="rId3" Type="http://schemas.openxmlformats.org/officeDocument/2006/relationships/image" Target="../media/image6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8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image" Target="../media/image12.png"/><Relationship Id="rId5" Type="http://schemas.openxmlformats.org/officeDocument/2006/relationships/image" Target="../media/image13.png"/><Relationship Id="rId1" Type="http://schemas.openxmlformats.org/officeDocument/2006/relationships/tags" Target="../tags/tag3.xml"/><Relationship Id="rId2" Type="http://schemas.openxmlformats.org/officeDocument/2006/relationships/tags" Target="../tags/tag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4.png"/><Relationship Id="rId3" Type="http://schemas.microsoft.com/office/2007/relationships/hdphoto" Target="../media/hdphoto1.wdp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5.pn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Relationship Id="rId3" Type="http://schemas.openxmlformats.org/officeDocument/2006/relationships/image" Target="../media/image4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9849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et texte 2">
  <p:cSld name="Image et texte 2">
    <p:bg>
      <p:bgPr>
        <a:solidFill>
          <a:srgbClr val="F3B692"/>
        </a:solidFill>
        <a:effectLst/>
      </p:bgPr>
    </p:bg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8"/>
          <p:cNvSpPr/>
          <p:nvPr/>
        </p:nvSpPr>
        <p:spPr>
          <a:xfrm>
            <a:off x="5169600" y="0"/>
            <a:ext cx="7029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6" name="Google Shape;236;p8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10526400" cy="17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37" name="Google Shape;237;p8"/>
          <p:cNvSpPr txBox="1">
            <a:spLocks noGrp="1"/>
          </p:cNvSpPr>
          <p:nvPr>
            <p:ph type="body" idx="1"/>
          </p:nvPr>
        </p:nvSpPr>
        <p:spPr>
          <a:xfrm>
            <a:off x="5640000" y="3220433"/>
            <a:ext cx="5193600" cy="28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8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239" name="Google Shape;239;p8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40" name="Google Shape;240;p8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41" name="Google Shape;241;p8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242" name="Google Shape;242;p8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43" name="Google Shape;243;p8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44" name="Google Shape;244;p8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45" name="Google Shape;245;p8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46" name="Google Shape;246;p8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47" name="Google Shape;247;p8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48" name="Google Shape;248;p8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49" name="Google Shape;249;p8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0" name="Google Shape;250;p8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1" name="Google Shape;251;p8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2" name="Google Shape;252;p8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3" name="Google Shape;253;p8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4" name="Google Shape;254;p8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5" name="Google Shape;255;p8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6" name="Google Shape;256;p8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7" name="Google Shape;257;p8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8" name="Google Shape;258;p8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9" name="Google Shape;259;p8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0" name="Google Shape;260;p8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1" name="Google Shape;261;p8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2" name="Google Shape;262;p8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3" name="Google Shape;263;p8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4" name="Google Shape;264;p8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5" name="Google Shape;265;p8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6" name="Google Shape;266;p8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7" name="Google Shape;267;p8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8" name="Google Shape;268;p8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9" name="Google Shape;269;p8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0" name="Google Shape;270;p8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1" name="Google Shape;271;p8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2" name="Google Shape;272;p8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3" name="Google Shape;273;p8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4" name="Google Shape;274;p8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5" name="Google Shape;275;p8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6" name="Google Shape;276;p8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7" name="Google Shape;277;p8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8" name="Google Shape;278;p8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9" name="Google Shape;279;p8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80" name="Google Shape;280;p8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81" name="Google Shape;281;p8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82" name="Google Shape;282;p8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83" name="Google Shape;283;p8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84" name="Google Shape;284;p8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85" name="Google Shape;285;p8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86" name="Google Shape;286;p8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287" name="Google Shape;287;p8"/>
          <p:cNvSpPr txBox="1">
            <a:spLocks noGrp="1"/>
          </p:cNvSpPr>
          <p:nvPr>
            <p:ph type="subTitle" idx="2"/>
          </p:nvPr>
        </p:nvSpPr>
        <p:spPr>
          <a:xfrm>
            <a:off x="5640000" y="1792833"/>
            <a:ext cx="6038400" cy="1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288" name="Google Shape;288;p8"/>
          <p:cNvSpPr>
            <a:spLocks noGrp="1"/>
          </p:cNvSpPr>
          <p:nvPr>
            <p:ph type="pic" idx="3"/>
          </p:nvPr>
        </p:nvSpPr>
        <p:spPr>
          <a:xfrm>
            <a:off x="1272000" y="2001633"/>
            <a:ext cx="3316800" cy="33168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946">
          <p15:clr>
            <a:srgbClr val="E46962"/>
          </p15:clr>
        </p15:guide>
        <p15:guide id="4" pos="2665">
          <p15:clr>
            <a:srgbClr val="E46962"/>
          </p15:clr>
        </p15:guide>
        <p15:guide id="5" pos="5517">
          <p15:clr>
            <a:srgbClr val="E46962"/>
          </p15:clr>
        </p15:guide>
        <p15:guide id="6" orient="horz" pos="1521">
          <p15:clr>
            <a:srgbClr val="E46962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 colonne image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102" name="Espace réservé pour une image  12"/>
          <p:cNvSpPr>
            <a:spLocks noGrp="1"/>
          </p:cNvSpPr>
          <p:nvPr>
            <p:ph type="pic" idx="21"/>
          </p:nvPr>
        </p:nvSpPr>
        <p:spPr>
          <a:xfrm>
            <a:off x="6362603" y="-1588"/>
            <a:ext cx="5829397" cy="68754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03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04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822960" y="1825625"/>
            <a:ext cx="5181602" cy="4351338"/>
          </a:xfrm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05" name="Connecteur droit 8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106" name="Image 9" descr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6"/>
          </a:xfrm>
          <a:prstGeom prst="rect">
            <a:avLst/>
          </a:prstGeom>
          <a:ln w="12700">
            <a:miter lim="400000"/>
          </a:ln>
        </p:spPr>
      </p:pic>
      <p:sp>
        <p:nvSpPr>
          <p:cNvPr id="107" name="Connecteur droit 10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08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16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1" y="1825625"/>
            <a:ext cx="3235769" cy="4351338"/>
          </a:xfrm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17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 colonne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25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1" y="4301654"/>
            <a:ext cx="2377440" cy="18753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26" name="Espace réservé pour une image  14"/>
          <p:cNvSpPr>
            <a:spLocks noGrp="1"/>
          </p:cNvSpPr>
          <p:nvPr>
            <p:ph type="pic" sz="quarter" idx="21"/>
          </p:nvPr>
        </p:nvSpPr>
        <p:spPr>
          <a:xfrm>
            <a:off x="838200" y="1789113"/>
            <a:ext cx="2377440" cy="23774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7" name="Espace réservé pour une image  14"/>
          <p:cNvSpPr>
            <a:spLocks noGrp="1"/>
          </p:cNvSpPr>
          <p:nvPr>
            <p:ph type="pic" sz="quarter" idx="22"/>
          </p:nvPr>
        </p:nvSpPr>
        <p:spPr>
          <a:xfrm>
            <a:off x="3535681" y="1789113"/>
            <a:ext cx="2377443" cy="23774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8" name="Espace réservé pour une image  14"/>
          <p:cNvSpPr>
            <a:spLocks noGrp="1"/>
          </p:cNvSpPr>
          <p:nvPr>
            <p:ph type="pic" sz="quarter" idx="23"/>
          </p:nvPr>
        </p:nvSpPr>
        <p:spPr>
          <a:xfrm>
            <a:off x="6248401" y="1789113"/>
            <a:ext cx="2377443" cy="23774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9" name="Espace réservé pour une image  14"/>
          <p:cNvSpPr>
            <a:spLocks noGrp="1"/>
          </p:cNvSpPr>
          <p:nvPr>
            <p:ph type="pic" sz="quarter" idx="24"/>
          </p:nvPr>
        </p:nvSpPr>
        <p:spPr>
          <a:xfrm>
            <a:off x="8961118" y="1789113"/>
            <a:ext cx="2377443" cy="23774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0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 colonnes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38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53438" y="2675820"/>
            <a:ext cx="1934310" cy="350114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255953" indent="-255953">
              <a:defRPr sz="1600"/>
            </a:lvl3pPr>
            <a:lvl4pPr marL="515449" indent="-285261">
              <a:defRPr sz="1600"/>
            </a:lvl4pPr>
            <a:lvl5pPr>
              <a:defRPr sz="16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39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ités 1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47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2052079" y="1982253"/>
            <a:ext cx="1441869" cy="1114308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93108" indent="-193108">
              <a:defRPr sz="1300"/>
            </a:lvl3pPr>
            <a:lvl4pPr marL="445407" indent="-215219">
              <a:defRPr sz="1300"/>
            </a:lvl4pPr>
            <a:lvl5pPr>
              <a:defRPr sz="13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48" name="Espace réservé pour une image  15"/>
          <p:cNvSpPr>
            <a:spLocks noGrp="1"/>
          </p:cNvSpPr>
          <p:nvPr>
            <p:ph type="pic" sz="quarter" idx="21"/>
          </p:nvPr>
        </p:nvSpPr>
        <p:spPr>
          <a:xfrm>
            <a:off x="822960" y="1885700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49" name="Espace réservé pour une image  15"/>
          <p:cNvSpPr>
            <a:spLocks noGrp="1"/>
          </p:cNvSpPr>
          <p:nvPr>
            <p:ph type="pic" sz="quarter" idx="22"/>
          </p:nvPr>
        </p:nvSpPr>
        <p:spPr>
          <a:xfrm>
            <a:off x="3544894" y="1885700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0" name="Espace réservé pour une image  15"/>
          <p:cNvSpPr>
            <a:spLocks noGrp="1"/>
          </p:cNvSpPr>
          <p:nvPr>
            <p:ph type="pic" sz="quarter" idx="23"/>
          </p:nvPr>
        </p:nvSpPr>
        <p:spPr>
          <a:xfrm>
            <a:off x="6266829" y="1885700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1" name="Espace réservé pour une image  15"/>
          <p:cNvSpPr>
            <a:spLocks noGrp="1"/>
          </p:cNvSpPr>
          <p:nvPr>
            <p:ph type="pic" sz="quarter" idx="24"/>
          </p:nvPr>
        </p:nvSpPr>
        <p:spPr>
          <a:xfrm>
            <a:off x="8988762" y="1885700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2" name="Espace réservé pour une image  15"/>
          <p:cNvSpPr>
            <a:spLocks noGrp="1"/>
          </p:cNvSpPr>
          <p:nvPr>
            <p:ph type="pic" sz="quarter" idx="25"/>
          </p:nvPr>
        </p:nvSpPr>
        <p:spPr>
          <a:xfrm>
            <a:off x="822960" y="3225407"/>
            <a:ext cx="1114311" cy="111430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3" name="Espace réservé pour une image  15"/>
          <p:cNvSpPr>
            <a:spLocks noGrp="1"/>
          </p:cNvSpPr>
          <p:nvPr>
            <p:ph type="pic" sz="quarter" idx="26"/>
          </p:nvPr>
        </p:nvSpPr>
        <p:spPr>
          <a:xfrm>
            <a:off x="3544894" y="3225407"/>
            <a:ext cx="1114311" cy="111430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4" name="Espace réservé pour une image  15"/>
          <p:cNvSpPr>
            <a:spLocks noGrp="1"/>
          </p:cNvSpPr>
          <p:nvPr>
            <p:ph type="pic" sz="quarter" idx="27"/>
          </p:nvPr>
        </p:nvSpPr>
        <p:spPr>
          <a:xfrm>
            <a:off x="6266829" y="3225407"/>
            <a:ext cx="1114311" cy="111430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5" name="Espace réservé pour une image  15"/>
          <p:cNvSpPr>
            <a:spLocks noGrp="1"/>
          </p:cNvSpPr>
          <p:nvPr>
            <p:ph type="pic" sz="quarter" idx="28"/>
          </p:nvPr>
        </p:nvSpPr>
        <p:spPr>
          <a:xfrm>
            <a:off x="8988762" y="3225407"/>
            <a:ext cx="1114311" cy="111430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6" name="Espace réservé pour une image  15"/>
          <p:cNvSpPr>
            <a:spLocks noGrp="1"/>
          </p:cNvSpPr>
          <p:nvPr>
            <p:ph type="pic" sz="quarter" idx="29"/>
          </p:nvPr>
        </p:nvSpPr>
        <p:spPr>
          <a:xfrm>
            <a:off x="822960" y="4554482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7" name="Espace réservé pour une image  15"/>
          <p:cNvSpPr>
            <a:spLocks noGrp="1"/>
          </p:cNvSpPr>
          <p:nvPr>
            <p:ph type="pic" sz="quarter" idx="30"/>
          </p:nvPr>
        </p:nvSpPr>
        <p:spPr>
          <a:xfrm>
            <a:off x="3544894" y="4554482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8" name="Espace réservé pour une image  15"/>
          <p:cNvSpPr>
            <a:spLocks noGrp="1"/>
          </p:cNvSpPr>
          <p:nvPr>
            <p:ph type="pic" sz="quarter" idx="31"/>
          </p:nvPr>
        </p:nvSpPr>
        <p:spPr>
          <a:xfrm>
            <a:off x="6266829" y="4554482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9" name="Espace réservé pour une image  15"/>
          <p:cNvSpPr>
            <a:spLocks noGrp="1"/>
          </p:cNvSpPr>
          <p:nvPr>
            <p:ph type="pic" sz="quarter" idx="32"/>
          </p:nvPr>
        </p:nvSpPr>
        <p:spPr>
          <a:xfrm>
            <a:off x="8988762" y="4554482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0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# comite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68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1968369" y="2339168"/>
            <a:ext cx="2901340" cy="1257743"/>
          </a:xfrm>
          <a:prstGeom prst="rect">
            <a:avLst/>
          </a:prstGeom>
        </p:spPr>
        <p:txBody>
          <a:bodyPr anchor="b"/>
          <a:lstStyle>
            <a:lvl1pPr algn="ctr">
              <a:defRPr sz="5000">
                <a:solidFill>
                  <a:schemeClr val="accent1"/>
                </a:solidFill>
              </a:defRPr>
            </a:lvl1pPr>
            <a:lvl2pPr algn="ctr">
              <a:defRPr sz="5000">
                <a:solidFill>
                  <a:schemeClr val="accent1"/>
                </a:solidFill>
              </a:defRPr>
            </a:lvl2pPr>
            <a:lvl3pPr marL="0" indent="0" algn="ctr">
              <a:buSzTx/>
              <a:buNone/>
              <a:defRPr sz="5000">
                <a:solidFill>
                  <a:schemeClr val="accent1"/>
                </a:solidFill>
              </a:defRPr>
            </a:lvl3pPr>
            <a:lvl4pPr marL="874005" indent="-643818" algn="ctr">
              <a:defRPr sz="5000">
                <a:solidFill>
                  <a:schemeClr val="accent1"/>
                </a:solidFill>
              </a:defRPr>
            </a:lvl4pPr>
            <a:lvl5pPr algn="ctr">
              <a:defRPr sz="5000"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69" name="Ellipse 4"/>
          <p:cNvSpPr/>
          <p:nvPr/>
        </p:nvSpPr>
        <p:spPr>
          <a:xfrm>
            <a:off x="1873703" y="2191267"/>
            <a:ext cx="3090677" cy="3093115"/>
          </a:xfrm>
          <a:prstGeom prst="ellips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 anchor="ctr"/>
          <a:lstStyle/>
          <a:p>
            <a:pPr algn="ctr" latinLnBrk="0" hangingPunct="0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Connecteur droit 31"/>
          <p:cNvSpPr/>
          <p:nvPr/>
        </p:nvSpPr>
        <p:spPr>
          <a:xfrm>
            <a:off x="8266189" y="3679919"/>
            <a:ext cx="1023340" cy="3"/>
          </a:xfrm>
          <a:prstGeom prst="line">
            <a:avLst/>
          </a:prstGeom>
          <a:ln w="635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71" name="Ellipse 32"/>
          <p:cNvSpPr/>
          <p:nvPr/>
        </p:nvSpPr>
        <p:spPr>
          <a:xfrm>
            <a:off x="7231177" y="2191267"/>
            <a:ext cx="3090677" cy="3093115"/>
          </a:xfrm>
          <a:prstGeom prst="ellips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 anchor="ctr"/>
          <a:lstStyle/>
          <a:p>
            <a:pPr algn="ctr" latinLnBrk="0" hangingPunct="0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Ellipse 28"/>
          <p:cNvSpPr/>
          <p:nvPr/>
        </p:nvSpPr>
        <p:spPr>
          <a:xfrm>
            <a:off x="4594616" y="2191266"/>
            <a:ext cx="3090677" cy="3090677"/>
          </a:xfrm>
          <a:prstGeom prst="ellips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 anchor="ctr"/>
          <a:lstStyle/>
          <a:p>
            <a:pPr algn="ctr" latinLnBrk="0" hangingPunct="0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Connecteur droit 27"/>
          <p:cNvSpPr/>
          <p:nvPr/>
        </p:nvSpPr>
        <p:spPr>
          <a:xfrm>
            <a:off x="5533616" y="3679919"/>
            <a:ext cx="1023340" cy="3"/>
          </a:xfrm>
          <a:prstGeom prst="line">
            <a:avLst/>
          </a:prstGeom>
          <a:ln w="635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74" name="Connecteur droit 15"/>
          <p:cNvSpPr/>
          <p:nvPr/>
        </p:nvSpPr>
        <p:spPr>
          <a:xfrm>
            <a:off x="2907370" y="3679919"/>
            <a:ext cx="1023340" cy="3"/>
          </a:xfrm>
          <a:prstGeom prst="line">
            <a:avLst/>
          </a:prstGeom>
          <a:ln w="635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7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# Comite 10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83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043938" y="1702735"/>
            <a:ext cx="1835363" cy="953689"/>
          </a:xfrm>
          <a:prstGeom prst="rect">
            <a:avLst/>
          </a:prstGeom>
        </p:spPr>
        <p:txBody>
          <a:bodyPr anchor="b"/>
          <a:lstStyle>
            <a:lvl1pPr algn="ctr">
              <a:defRPr sz="5000">
                <a:solidFill>
                  <a:schemeClr val="accent1"/>
                </a:solidFill>
              </a:defRPr>
            </a:lvl1pPr>
            <a:lvl2pPr algn="ctr">
              <a:defRPr sz="5000">
                <a:solidFill>
                  <a:schemeClr val="accent1"/>
                </a:solidFill>
              </a:defRPr>
            </a:lvl2pPr>
            <a:lvl3pPr marL="0" indent="0" algn="ctr">
              <a:buSzTx/>
              <a:buNone/>
              <a:defRPr sz="5000">
                <a:solidFill>
                  <a:schemeClr val="accent1"/>
                </a:solidFill>
              </a:defRPr>
            </a:lvl3pPr>
            <a:lvl4pPr marL="874005" indent="-643818" algn="ctr">
              <a:defRPr sz="5000">
                <a:solidFill>
                  <a:schemeClr val="accent1"/>
                </a:solidFill>
              </a:defRPr>
            </a:lvl4pPr>
            <a:lvl5pPr algn="ctr">
              <a:defRPr sz="5000">
                <a:solidFill>
                  <a:schemeClr val="accent1"/>
                </a:solidFill>
              </a:defRPr>
            </a:lvl5pPr>
          </a:lstStyle>
          <a:p>
            <a:r>
              <a:t>###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8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arre comite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" name="Image 15" descr="Imag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867" y="1786269"/>
            <a:ext cx="11361133" cy="4806737"/>
          </a:xfrm>
          <a:prstGeom prst="rect">
            <a:avLst/>
          </a:prstGeom>
          <a:ln w="12700">
            <a:miter lim="400000"/>
          </a:ln>
        </p:spPr>
      </p:pic>
      <p:sp>
        <p:nvSpPr>
          <p:cNvPr id="19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93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908018" y="2820959"/>
            <a:ext cx="2292382" cy="187862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5000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defRPr sz="5000">
                <a:solidFill>
                  <a:schemeClr val="accent1"/>
                </a:solidFill>
              </a:defRPr>
            </a:lvl2pPr>
            <a:lvl3pPr marL="799856" indent="-799856">
              <a:spcBef>
                <a:spcPts val="0"/>
              </a:spcBef>
              <a:defRPr sz="5000">
                <a:solidFill>
                  <a:schemeClr val="accent1"/>
                </a:solidFill>
              </a:defRPr>
            </a:lvl3pPr>
            <a:lvl4pPr marL="954483" indent="-724296">
              <a:spcBef>
                <a:spcPts val="0"/>
              </a:spcBef>
              <a:defRPr sz="50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5000">
                <a:solidFill>
                  <a:schemeClr val="accent1"/>
                </a:solidFill>
              </a:defRPr>
            </a:lvl5pPr>
          </a:lstStyle>
          <a:p>
            <a:r>
              <a:t>000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94" name="Connecteur droit 6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195" name="Image 7" descr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196" name="Connecteur droit 8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97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arre comite mau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Image 10" descr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05" name="Image 15" descr="Imag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259" y="1786269"/>
            <a:ext cx="11324347" cy="4806737"/>
          </a:xfrm>
          <a:prstGeom prst="rect">
            <a:avLst/>
          </a:prstGeom>
          <a:ln w="12700">
            <a:miter lim="400000"/>
          </a:ln>
        </p:spPr>
      </p:pic>
      <p:sp>
        <p:nvSpPr>
          <p:cNvPr id="206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207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908018" y="2820959"/>
            <a:ext cx="2292382" cy="187862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5000"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defRPr sz="5000">
                <a:solidFill>
                  <a:schemeClr val="accent2"/>
                </a:solidFill>
              </a:defRPr>
            </a:lvl2pPr>
            <a:lvl3pPr marL="799856" indent="-799856">
              <a:spcBef>
                <a:spcPts val="0"/>
              </a:spcBef>
              <a:defRPr sz="5000">
                <a:solidFill>
                  <a:schemeClr val="accent2"/>
                </a:solidFill>
              </a:defRPr>
            </a:lvl3pPr>
            <a:lvl4pPr marL="954483" indent="-724296">
              <a:spcBef>
                <a:spcPts val="0"/>
              </a:spcBef>
              <a:defRPr sz="50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defRPr sz="5000">
                <a:solidFill>
                  <a:schemeClr val="accent2"/>
                </a:solidFill>
              </a:defRPr>
            </a:lvl5pPr>
          </a:lstStyle>
          <a:p>
            <a:r>
              <a:t>000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08" name="Connecteur droit 6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209" name="Image 7" descr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924" y="6217846"/>
            <a:ext cx="927303" cy="377286"/>
          </a:xfrm>
          <a:prstGeom prst="rect">
            <a:avLst/>
          </a:prstGeom>
          <a:ln w="12700">
            <a:miter lim="400000"/>
          </a:ln>
        </p:spPr>
      </p:pic>
      <p:sp>
        <p:nvSpPr>
          <p:cNvPr id="210" name="Connecteur droit 8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11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vestiss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219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0" y="1828799"/>
            <a:ext cx="10515601" cy="12440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 marL="0" indent="0">
              <a:buSzTx/>
              <a:buNone/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220" name="Espace réservé pour une image  9"/>
          <p:cNvSpPr>
            <a:spLocks noGrp="1"/>
          </p:cNvSpPr>
          <p:nvPr>
            <p:ph type="pic" sz="quarter" idx="21"/>
          </p:nvPr>
        </p:nvSpPr>
        <p:spPr>
          <a:xfrm>
            <a:off x="798514" y="3147803"/>
            <a:ext cx="6350750" cy="256307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21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et texte 4">
  <p:cSld name="Image et texte 4">
    <p:bg>
      <p:bgPr>
        <a:solidFill>
          <a:srgbClr val="F4DA92"/>
        </a:solidFill>
        <a:effectLst/>
      </p:bgPr>
    </p:bg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9"/>
          <p:cNvSpPr/>
          <p:nvPr/>
        </p:nvSpPr>
        <p:spPr>
          <a:xfrm>
            <a:off x="5169600" y="0"/>
            <a:ext cx="7029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291" name="Google Shape;291;p9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10526400" cy="119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92" name="Google Shape;292;p9"/>
          <p:cNvSpPr txBox="1">
            <a:spLocks noGrp="1"/>
          </p:cNvSpPr>
          <p:nvPr>
            <p:ph type="body" idx="1"/>
          </p:nvPr>
        </p:nvSpPr>
        <p:spPr>
          <a:xfrm>
            <a:off x="5640000" y="2688000"/>
            <a:ext cx="3019200" cy="283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293" name="Google Shape;293;p9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294" name="Google Shape;294;p9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95" name="Google Shape;295;p9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96" name="Google Shape;296;p9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297" name="Google Shape;297;p9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98" name="Google Shape;298;p9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99" name="Google Shape;299;p9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0" name="Google Shape;300;p9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1" name="Google Shape;301;p9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2" name="Google Shape;302;p9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3" name="Google Shape;303;p9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4" name="Google Shape;304;p9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5" name="Google Shape;305;p9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6" name="Google Shape;306;p9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7" name="Google Shape;307;p9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8" name="Google Shape;308;p9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9" name="Google Shape;309;p9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0" name="Google Shape;310;p9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1" name="Google Shape;311;p9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2" name="Google Shape;312;p9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3" name="Google Shape;313;p9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4" name="Google Shape;314;p9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5" name="Google Shape;315;p9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6" name="Google Shape;316;p9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7" name="Google Shape;317;p9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8" name="Google Shape;318;p9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9" name="Google Shape;319;p9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0" name="Google Shape;320;p9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1" name="Google Shape;321;p9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2" name="Google Shape;322;p9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3" name="Google Shape;323;p9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4" name="Google Shape;324;p9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5" name="Google Shape;325;p9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6" name="Google Shape;326;p9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7" name="Google Shape;327;p9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8" name="Google Shape;328;p9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9" name="Google Shape;329;p9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0" name="Google Shape;330;p9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1" name="Google Shape;331;p9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2" name="Google Shape;332;p9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3" name="Google Shape;333;p9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4" name="Google Shape;334;p9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5" name="Google Shape;335;p9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6" name="Google Shape;336;p9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7" name="Google Shape;337;p9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8" name="Google Shape;338;p9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9" name="Google Shape;339;p9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40" name="Google Shape;340;p9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41" name="Google Shape;341;p9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342" name="Google Shape;342;p9"/>
          <p:cNvSpPr txBox="1">
            <a:spLocks noGrp="1"/>
          </p:cNvSpPr>
          <p:nvPr>
            <p:ph type="subTitle" idx="2"/>
          </p:nvPr>
        </p:nvSpPr>
        <p:spPr>
          <a:xfrm>
            <a:off x="5640000" y="2001600"/>
            <a:ext cx="2888400" cy="6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Font typeface="Work Sans Medium"/>
              <a:buNone/>
              <a:defRPr sz="1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9pPr>
          </a:lstStyle>
          <a:p>
            <a:endParaRPr/>
          </a:p>
        </p:txBody>
      </p:sp>
      <p:sp>
        <p:nvSpPr>
          <p:cNvPr id="343" name="Google Shape;343;p9"/>
          <p:cNvSpPr>
            <a:spLocks noGrp="1"/>
          </p:cNvSpPr>
          <p:nvPr>
            <p:ph type="pic" idx="3"/>
          </p:nvPr>
        </p:nvSpPr>
        <p:spPr>
          <a:xfrm>
            <a:off x="1272000" y="2001600"/>
            <a:ext cx="3316800" cy="3316800"/>
          </a:xfrm>
          <a:prstGeom prst="ellipse">
            <a:avLst/>
          </a:prstGeom>
          <a:noFill/>
          <a:ln>
            <a:noFill/>
          </a:ln>
        </p:spPr>
      </p:sp>
      <p:cxnSp>
        <p:nvCxnSpPr>
          <p:cNvPr id="344" name="Google Shape;344;p9"/>
          <p:cNvCxnSpPr/>
          <p:nvPr/>
        </p:nvCxnSpPr>
        <p:spPr>
          <a:xfrm>
            <a:off x="5774400" y="2001600"/>
            <a:ext cx="276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5" name="Google Shape;345;p9"/>
          <p:cNvSpPr txBox="1">
            <a:spLocks noGrp="1"/>
          </p:cNvSpPr>
          <p:nvPr>
            <p:ph type="body" idx="4"/>
          </p:nvPr>
        </p:nvSpPr>
        <p:spPr>
          <a:xfrm>
            <a:off x="8662800" y="2688000"/>
            <a:ext cx="3019200" cy="283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346" name="Google Shape;346;p9"/>
          <p:cNvSpPr txBox="1">
            <a:spLocks noGrp="1"/>
          </p:cNvSpPr>
          <p:nvPr>
            <p:ph type="subTitle" idx="5"/>
          </p:nvPr>
        </p:nvSpPr>
        <p:spPr>
          <a:xfrm>
            <a:off x="8662800" y="2001600"/>
            <a:ext cx="2888400" cy="6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Font typeface="Work Sans Medium"/>
              <a:buNone/>
              <a:defRPr sz="1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9pPr>
          </a:lstStyle>
          <a:p>
            <a:endParaRPr/>
          </a:p>
        </p:txBody>
      </p:sp>
      <p:cxnSp>
        <p:nvCxnSpPr>
          <p:cNvPr id="347" name="Google Shape;347;p9"/>
          <p:cNvCxnSpPr/>
          <p:nvPr/>
        </p:nvCxnSpPr>
        <p:spPr>
          <a:xfrm>
            <a:off x="8783067" y="2001600"/>
            <a:ext cx="2794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1270">
          <p15:clr>
            <a:srgbClr val="E46962"/>
          </p15:clr>
        </p15:guide>
        <p15:guide id="4" pos="2665">
          <p15:clr>
            <a:srgbClr val="E46962"/>
          </p15:clr>
        </p15:guide>
        <p15:guide id="5" pos="5517">
          <p15:clr>
            <a:srgbClr val="E46962"/>
          </p15:clr>
        </p15:guide>
        <p15:guide id="6" pos="4091">
          <p15:clr>
            <a:srgbClr val="E46962"/>
          </p15:clr>
        </p15:guide>
        <p15:guide id="7" pos="4148">
          <p15:clr>
            <a:srgbClr val="E46962"/>
          </p15:clr>
        </p15:guide>
        <p15:guide id="8" pos="4034">
          <p15:clr>
            <a:srgbClr val="E46962"/>
          </p15:clr>
        </p15:guide>
        <p15:guide id="9" orient="horz" pos="946">
          <p15:clr>
            <a:srgbClr val="E46962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llaboration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229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0" y="1825625"/>
            <a:ext cx="4114802" cy="75394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</a:defRPr>
            </a:lvl1pPr>
            <a:lvl2pPr>
              <a:defRPr sz="3000">
                <a:solidFill>
                  <a:schemeClr val="accent1"/>
                </a:solidFill>
              </a:defRPr>
            </a:lvl2pPr>
            <a:lvl3pPr marL="346605" indent="-346605">
              <a:defRPr sz="3000">
                <a:solidFill>
                  <a:schemeClr val="accent1"/>
                </a:solidFill>
              </a:defRPr>
            </a:lvl3pPr>
            <a:lvl4pPr marL="616478" indent="-386291">
              <a:defRPr sz="3000">
                <a:solidFill>
                  <a:schemeClr val="accent1"/>
                </a:solidFill>
              </a:defRPr>
            </a:lvl4pPr>
            <a:lvl5pPr>
              <a:defRPr sz="3000"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230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g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238" name="Rectangle 13"/>
          <p:cNvSpPr/>
          <p:nvPr/>
        </p:nvSpPr>
        <p:spPr>
          <a:xfrm>
            <a:off x="798969" y="1600417"/>
            <a:ext cx="3109486" cy="4453102"/>
          </a:xfrm>
          <a:prstGeom prst="rect">
            <a:avLst/>
          </a:prstGeom>
          <a:solidFill>
            <a:schemeClr val="accent2">
              <a:alpha val="60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latinLnBrk="0" hangingPunct="0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9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240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941069" y="1703257"/>
            <a:ext cx="2672802" cy="2987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241" name="Connecteur droit 6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242" name="Image 7" descr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243" name="Connecteur droit 8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44" name="Connecteur droit 20"/>
          <p:cNvSpPr/>
          <p:nvPr/>
        </p:nvSpPr>
        <p:spPr>
          <a:xfrm>
            <a:off x="4040318" y="2002001"/>
            <a:ext cx="7458466" cy="5"/>
          </a:xfrm>
          <a:prstGeom prst="line">
            <a:avLst/>
          </a:prstGeom>
          <a:ln w="508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4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artenaires logo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253" name="Connecteur droit 7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54" name="Espace réservé pour une image  8"/>
          <p:cNvSpPr>
            <a:spLocks noGrp="1"/>
          </p:cNvSpPr>
          <p:nvPr>
            <p:ph type="pic" idx="21"/>
          </p:nvPr>
        </p:nvSpPr>
        <p:spPr>
          <a:xfrm>
            <a:off x="822325" y="1886555"/>
            <a:ext cx="10660065" cy="427361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5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55385" y="6269943"/>
            <a:ext cx="182216" cy="17281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263" name="Connecteur droit 4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264" name="Image 5" descr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26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>
  <p:cSld name="1_Titre et contenu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3" name="Google Shape;2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4" name="Google Shape;2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/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uk-UA" smtClean="0">
                <a:solidFill>
                  <a:srgbClr val="82CFBE"/>
                </a:solidFill>
              </a:rPr>
              <a:pPr/>
              <a:t>‹#›</a:t>
            </a:fld>
            <a:endParaRPr lang="uk-UA"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Vide sans bas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x">
  <p:cSld name="Title Sli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4"/>
          <p:cNvSpPr txBox="1">
            <a:spLocks noGrp="1"/>
          </p:cNvSpPr>
          <p:nvPr>
            <p:ph type="title"/>
          </p:nvPr>
        </p:nvSpPr>
        <p:spPr>
          <a:xfrm>
            <a:off x="233280" y="529921"/>
            <a:ext cx="11735520" cy="313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4"/>
          <p:cNvSpPr txBox="1">
            <a:spLocks noGrp="1"/>
          </p:cNvSpPr>
          <p:nvPr>
            <p:ph type="subTitle" idx="1"/>
          </p:nvPr>
        </p:nvSpPr>
        <p:spPr>
          <a:xfrm>
            <a:off x="609600" y="1604640"/>
            <a:ext cx="1097232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/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>
  <p:cSld name="Titre et contenu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5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34289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8" lvl="1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6" lvl="2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5" lvl="3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94" lvl="4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92" lvl="5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91" lvl="6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90" lvl="7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88" lvl="8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5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25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25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/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-tête de section" type="secHead">
  <p:cSld name="En-tête de section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28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398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596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795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5994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192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391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59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788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2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28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2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et texte 1">
  <p:cSld name="Image et texte 1">
    <p:bg>
      <p:bgPr>
        <a:solidFill>
          <a:srgbClr val="CEB3D3"/>
        </a:solidFill>
        <a:effectLst/>
      </p:bgPr>
    </p:bg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Google Shape;349;p10"/>
          <p:cNvSpPr>
            <a:spLocks noGrp="1"/>
          </p:cNvSpPr>
          <p:nvPr>
            <p:ph type="pic" idx="2"/>
          </p:nvPr>
        </p:nvSpPr>
        <p:spPr>
          <a:xfrm>
            <a:off x="1665600" y="1598400"/>
            <a:ext cx="2467200" cy="39120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</p:sp>
      <p:sp>
        <p:nvSpPr>
          <p:cNvPr id="350" name="Google Shape;350;p10"/>
          <p:cNvSpPr/>
          <p:nvPr/>
        </p:nvSpPr>
        <p:spPr>
          <a:xfrm>
            <a:off x="5179200" y="0"/>
            <a:ext cx="70128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51" name="Google Shape;351;p10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3994800" cy="10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52" name="Google Shape;352;p10"/>
          <p:cNvSpPr txBox="1">
            <a:spLocks noGrp="1"/>
          </p:cNvSpPr>
          <p:nvPr>
            <p:ph type="body" idx="1"/>
          </p:nvPr>
        </p:nvSpPr>
        <p:spPr>
          <a:xfrm>
            <a:off x="5640000" y="2001633"/>
            <a:ext cx="6028800" cy="403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353" name="Google Shape;353;p10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354" name="Google Shape;354;p10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55" name="Google Shape;355;p10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56" name="Google Shape;356;p10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357" name="Google Shape;357;p10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58" name="Google Shape;358;p10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59" name="Google Shape;359;p10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0" name="Google Shape;360;p10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1" name="Google Shape;361;p10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2" name="Google Shape;362;p10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3" name="Google Shape;363;p10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4" name="Google Shape;364;p10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5" name="Google Shape;365;p10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6" name="Google Shape;366;p10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7" name="Google Shape;367;p10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8" name="Google Shape;368;p10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9" name="Google Shape;369;p10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0" name="Google Shape;370;p10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1" name="Google Shape;371;p10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2" name="Google Shape;372;p10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3" name="Google Shape;373;p10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4" name="Google Shape;374;p10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5" name="Google Shape;375;p10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6" name="Google Shape;376;p10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7" name="Google Shape;377;p10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8" name="Google Shape;378;p10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9" name="Google Shape;379;p10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0" name="Google Shape;380;p10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1" name="Google Shape;381;p10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2" name="Google Shape;382;p10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3" name="Google Shape;383;p10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4" name="Google Shape;384;p10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5" name="Google Shape;385;p10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6" name="Google Shape;386;p10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7" name="Google Shape;387;p10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8" name="Google Shape;388;p10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9" name="Google Shape;389;p10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0" name="Google Shape;390;p10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1" name="Google Shape;391;p10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2" name="Google Shape;392;p10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3" name="Google Shape;393;p10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4" name="Google Shape;394;p10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5" name="Google Shape;395;p10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6" name="Google Shape;396;p10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7" name="Google Shape;397;p10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8" name="Google Shape;398;p10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9" name="Google Shape;399;p10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00" name="Google Shape;400;p10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01" name="Google Shape;401;p10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402" name="Google Shape;402;p10"/>
          <p:cNvSpPr txBox="1">
            <a:spLocks noGrp="1"/>
          </p:cNvSpPr>
          <p:nvPr>
            <p:ph type="subTitle" idx="3"/>
          </p:nvPr>
        </p:nvSpPr>
        <p:spPr>
          <a:xfrm>
            <a:off x="5640000" y="291233"/>
            <a:ext cx="6028800" cy="17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946">
          <p15:clr>
            <a:srgbClr val="E46962"/>
          </p15:clr>
        </p15:guide>
        <p15:guide id="4" pos="2665">
          <p15:clr>
            <a:srgbClr val="E46962"/>
          </p15:clr>
        </p15:guide>
        <p15:guide id="5" pos="5513">
          <p15:clr>
            <a:srgbClr val="E46962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ux contenus" type="twoObj">
  <p:cSld name="Deux contenus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29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2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34289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8" lvl="1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6" lvl="2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5" lvl="3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94" lvl="4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92" lvl="5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91" lvl="6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90" lvl="7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88" lvl="8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29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34289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8" lvl="1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6" lvl="2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5" lvl="3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94" lvl="4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92" lvl="5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91" lvl="6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90" lvl="7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88" lvl="8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9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29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/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ison" type="twoTxTwoObj">
  <p:cSld name="Comparais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0"/>
          <p:cNvSpPr txBox="1"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30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199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398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596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795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5994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192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391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59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788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30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34289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8" lvl="1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6" lvl="2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5" lvl="3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94" lvl="4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92" lvl="5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91" lvl="6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90" lvl="7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88" lvl="8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199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398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596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795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5994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192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391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59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788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34289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8" lvl="1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6" lvl="2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5" lvl="3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94" lvl="4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92" lvl="5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91" lvl="6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90" lvl="7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88" lvl="8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30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30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30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/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u avec légende" type="objTx">
  <p:cSld name="Contenu avec légen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1"/>
          <p:cNvSpPr txBox="1"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1"/>
          <p:cNvSpPr txBox="1">
            <a:spLocks noGrp="1"/>
          </p:cNvSpPr>
          <p:nvPr>
            <p:ph type="body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43179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398" lvl="1" indent="-4063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596" lvl="2" indent="-3809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795" lvl="3" indent="-3555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5994" lvl="4" indent="-3555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192" lvl="5" indent="-3555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391" lvl="6" indent="-3555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590" lvl="7" indent="-3555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788" lvl="8" indent="-3555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0" name="Google Shape;50;p31"/>
          <p:cNvSpPr txBox="1">
            <a:spLocks noGrp="1"/>
          </p:cNvSpPr>
          <p:nvPr>
            <p:ph type="body" idx="2"/>
          </p:nvPr>
        </p:nvSpPr>
        <p:spPr>
          <a:xfrm>
            <a:off x="839789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398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596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795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5994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192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391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59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788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1" name="Google Shape;51;p3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3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3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/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vec légende" type="picTx">
  <p:cSld name="Image avec légen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2"/>
          <p:cNvSpPr txBox="1"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32"/>
          <p:cNvSpPr>
            <a:spLocks noGrp="1"/>
          </p:cNvSpPr>
          <p:nvPr>
            <p:ph type="pic" idx="2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Google Shape;57;p32"/>
          <p:cNvSpPr txBox="1">
            <a:spLocks noGrp="1"/>
          </p:cNvSpPr>
          <p:nvPr>
            <p:ph type="body" idx="1"/>
          </p:nvPr>
        </p:nvSpPr>
        <p:spPr>
          <a:xfrm>
            <a:off x="839789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398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596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795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5994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192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391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59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788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3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3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/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vertical et texte" type="vertTitleAndTx">
  <p:cSld name="Titre vertical et texte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3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3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9" lvl="0" indent="-34289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8" lvl="1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6" lvl="2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5" lvl="3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94" lvl="4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92" lvl="5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91" lvl="6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90" lvl="7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88" lvl="8" indent="-34289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3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33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3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et texte 3">
  <p:cSld name="Image et texte 3">
    <p:bg>
      <p:bgPr>
        <a:solidFill>
          <a:srgbClr val="B9DBC1"/>
        </a:solidFill>
        <a:effectLst/>
      </p:bgPr>
    </p:bg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11"/>
          <p:cNvSpPr/>
          <p:nvPr/>
        </p:nvSpPr>
        <p:spPr>
          <a:xfrm>
            <a:off x="5169600" y="0"/>
            <a:ext cx="7029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05" name="Google Shape;405;p11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10526400" cy="8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406" name="Google Shape;406;p11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407" name="Google Shape;407;p11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08" name="Google Shape;408;p11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409" name="Google Shape;409;p11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410" name="Google Shape;410;p11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1" name="Google Shape;411;p11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2" name="Google Shape;412;p11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3" name="Google Shape;413;p11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4" name="Google Shape;414;p11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5" name="Google Shape;415;p11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6" name="Google Shape;416;p11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7" name="Google Shape;417;p11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8" name="Google Shape;418;p11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9" name="Google Shape;419;p11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0" name="Google Shape;420;p11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1" name="Google Shape;421;p11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2" name="Google Shape;422;p11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3" name="Google Shape;423;p11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4" name="Google Shape;424;p11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5" name="Google Shape;425;p11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6" name="Google Shape;426;p11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7" name="Google Shape;427;p11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8" name="Google Shape;428;p11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9" name="Google Shape;429;p11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0" name="Google Shape;430;p11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1" name="Google Shape;431;p11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2" name="Google Shape;432;p11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3" name="Google Shape;433;p11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4" name="Google Shape;434;p11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5" name="Google Shape;435;p11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6" name="Google Shape;436;p11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7" name="Google Shape;437;p11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8" name="Google Shape;438;p11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9" name="Google Shape;439;p11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0" name="Google Shape;440;p11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1" name="Google Shape;441;p11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2" name="Google Shape;442;p11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3" name="Google Shape;443;p11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4" name="Google Shape;444;p11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5" name="Google Shape;445;p11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6" name="Google Shape;446;p11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7" name="Google Shape;447;p11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8" name="Google Shape;448;p11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9" name="Google Shape;449;p11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50" name="Google Shape;450;p11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51" name="Google Shape;451;p11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52" name="Google Shape;452;p11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53" name="Google Shape;453;p11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54" name="Google Shape;454;p11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455" name="Google Shape;455;p11"/>
          <p:cNvSpPr txBox="1">
            <a:spLocks noGrp="1"/>
          </p:cNvSpPr>
          <p:nvPr>
            <p:ph type="subTitle" idx="1"/>
          </p:nvPr>
        </p:nvSpPr>
        <p:spPr>
          <a:xfrm>
            <a:off x="1152000" y="1180800"/>
            <a:ext cx="4017600" cy="1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Work Sans Medium"/>
              <a:buNone/>
              <a:defRPr sz="1467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456" name="Google Shape;456;p11"/>
          <p:cNvSpPr>
            <a:spLocks noGrp="1"/>
          </p:cNvSpPr>
          <p:nvPr>
            <p:ph type="pic" idx="2"/>
          </p:nvPr>
        </p:nvSpPr>
        <p:spPr>
          <a:xfrm>
            <a:off x="1272000" y="2568000"/>
            <a:ext cx="3316800" cy="3316800"/>
          </a:xfrm>
          <a:prstGeom prst="ellipse">
            <a:avLst/>
          </a:prstGeom>
          <a:noFill/>
          <a:ln>
            <a:noFill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558">
          <p15:clr>
            <a:srgbClr val="E46962"/>
          </p15:clr>
        </p15:guide>
        <p15:guide id="4" pos="2665">
          <p15:clr>
            <a:srgbClr val="E46962"/>
          </p15:clr>
        </p15:guide>
        <p15:guide id="5" pos="5517">
          <p15:clr>
            <a:srgbClr val="E46962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sous-titre 1">
  <p:cSld name="Titre et sous-titre 1">
    <p:bg>
      <p:bgPr>
        <a:solidFill>
          <a:srgbClr val="F4F5F1"/>
        </a:solidFill>
        <a:effectLst/>
      </p:bgPr>
    </p:bg>
    <p:spTree>
      <p:nvGrpSpPr>
        <p:cNvPr id="1" name="Shape 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Google Shape;458;p12"/>
          <p:cNvSpPr txBox="1">
            <a:spLocks noGrp="1"/>
          </p:cNvSpPr>
          <p:nvPr>
            <p:ph type="title"/>
          </p:nvPr>
        </p:nvSpPr>
        <p:spPr>
          <a:xfrm>
            <a:off x="1152000" y="291235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59" name="Google Shape;459;p12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460" name="Google Shape;460;p12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61" name="Google Shape;461;p12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62" name="Google Shape;462;p12"/>
          <p:cNvSpPr txBox="1">
            <a:spLocks noGrp="1"/>
          </p:cNvSpPr>
          <p:nvPr>
            <p:ph type="subTitle" idx="1"/>
          </p:nvPr>
        </p:nvSpPr>
        <p:spPr>
          <a:xfrm>
            <a:off x="1152000" y="1152000"/>
            <a:ext cx="5964800" cy="10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pos="5517">
          <p15:clr>
            <a:srgbClr val="E46962"/>
          </p15:clr>
        </p15:guide>
        <p15:guide id="3" orient="horz" pos="138">
          <p15:clr>
            <a:srgbClr val="E46962"/>
          </p15:clr>
        </p15:guide>
        <p15:guide id="4" orient="horz" pos="544">
          <p15:clr>
            <a:srgbClr val="E46962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texte sur 3 colonnes">
  <p:cSld name="Titre et texte sur 3 colonnes">
    <p:bg>
      <p:bgPr>
        <a:solidFill>
          <a:srgbClr val="F4F5F1"/>
        </a:solidFill>
        <a:effectLst/>
      </p:bgPr>
    </p:bg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p13"/>
          <p:cNvSpPr txBox="1">
            <a:spLocks noGrp="1"/>
          </p:cNvSpPr>
          <p:nvPr>
            <p:ph type="body" idx="1"/>
          </p:nvPr>
        </p:nvSpPr>
        <p:spPr>
          <a:xfrm>
            <a:off x="8169600" y="2001600"/>
            <a:ext cx="3508800" cy="43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79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Work Sans Medium"/>
              <a:buChar char="•"/>
              <a:defRPr sz="1467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465" name="Google Shape;465;p13"/>
          <p:cNvSpPr txBox="1">
            <a:spLocks noGrp="1"/>
          </p:cNvSpPr>
          <p:nvPr>
            <p:ph type="title"/>
          </p:nvPr>
        </p:nvSpPr>
        <p:spPr>
          <a:xfrm>
            <a:off x="1152000" y="291224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66" name="Google Shape;466;p13"/>
          <p:cNvSpPr txBox="1">
            <a:spLocks noGrp="1"/>
          </p:cNvSpPr>
          <p:nvPr>
            <p:ph type="body" idx="2"/>
          </p:nvPr>
        </p:nvSpPr>
        <p:spPr>
          <a:xfrm>
            <a:off x="1152000" y="2001600"/>
            <a:ext cx="3508800" cy="43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79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Work Sans Medium"/>
              <a:buChar char="•"/>
              <a:defRPr sz="1467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467" name="Google Shape;467;p13"/>
          <p:cNvSpPr txBox="1">
            <a:spLocks noGrp="1"/>
          </p:cNvSpPr>
          <p:nvPr>
            <p:ph type="body" idx="3"/>
          </p:nvPr>
        </p:nvSpPr>
        <p:spPr>
          <a:xfrm>
            <a:off x="4660800" y="2001600"/>
            <a:ext cx="3508800" cy="43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79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Work Sans Medium"/>
              <a:buChar char="•"/>
              <a:defRPr sz="1467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468" name="Google Shape;468;p13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469" name="Google Shape;469;p13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0" name="Google Shape;470;p13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202">
          <p15:clr>
            <a:srgbClr val="E46962"/>
          </p15:clr>
        </p15:guide>
        <p15:guide id="2" pos="3860">
          <p15:clr>
            <a:srgbClr val="E46962"/>
          </p15:clr>
        </p15:guide>
        <p15:guide id="3" pos="5517">
          <p15:clr>
            <a:srgbClr val="E46962"/>
          </p15:clr>
        </p15:guide>
        <p15:guide id="4" pos="544">
          <p15:clr>
            <a:srgbClr val="E46962"/>
          </p15:clr>
        </p15:guide>
        <p15:guide id="5" orient="horz" pos="138">
          <p15:clr>
            <a:srgbClr val="E46962"/>
          </p15:clr>
        </p15:guide>
        <p15:guide id="6" orient="horz" pos="946">
          <p15:clr>
            <a:srgbClr val="E46962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Professors">
  <p:cSld name="Our Professors">
    <p:bg>
      <p:bgPr>
        <a:solidFill>
          <a:srgbClr val="F4F5F1"/>
        </a:solidFill>
        <a:effectLst/>
      </p:bgPr>
    </p:bg>
    <p:spTree>
      <p:nvGrpSpPr>
        <p:cNvPr id="1" name="Shape 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" name="Google Shape;472;p14"/>
          <p:cNvSpPr txBox="1">
            <a:spLocks noGrp="1"/>
          </p:cNvSpPr>
          <p:nvPr>
            <p:ph type="body" idx="1"/>
          </p:nvPr>
        </p:nvSpPr>
        <p:spPr>
          <a:xfrm>
            <a:off x="9465600" y="1531200"/>
            <a:ext cx="2212800" cy="24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945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Work Sans Medium"/>
              <a:buChar char="•"/>
              <a:defRPr sz="1333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sp>
        <p:nvSpPr>
          <p:cNvPr id="473" name="Google Shape;473;p14"/>
          <p:cNvSpPr txBox="1">
            <a:spLocks noGrp="1"/>
          </p:cNvSpPr>
          <p:nvPr>
            <p:ph type="title"/>
          </p:nvPr>
        </p:nvSpPr>
        <p:spPr>
          <a:xfrm>
            <a:off x="1152000" y="291224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74" name="Google Shape;474;p14"/>
          <p:cNvSpPr txBox="1">
            <a:spLocks noGrp="1"/>
          </p:cNvSpPr>
          <p:nvPr>
            <p:ph type="body" idx="2"/>
          </p:nvPr>
        </p:nvSpPr>
        <p:spPr>
          <a:xfrm>
            <a:off x="2448000" y="1531200"/>
            <a:ext cx="2212800" cy="24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945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Work Sans Medium"/>
              <a:buChar char="•"/>
              <a:defRPr sz="1333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sp>
        <p:nvSpPr>
          <p:cNvPr id="475" name="Google Shape;475;p14"/>
          <p:cNvSpPr txBox="1">
            <a:spLocks noGrp="1"/>
          </p:cNvSpPr>
          <p:nvPr>
            <p:ph type="body" idx="3"/>
          </p:nvPr>
        </p:nvSpPr>
        <p:spPr>
          <a:xfrm>
            <a:off x="5956800" y="1531200"/>
            <a:ext cx="2212800" cy="24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945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Work Sans Medium"/>
              <a:buChar char="•"/>
              <a:defRPr sz="1333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sp>
        <p:nvSpPr>
          <p:cNvPr id="476" name="Google Shape;476;p14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477" name="Google Shape;477;p14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8" name="Google Shape;478;p14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79" name="Google Shape;479;p14"/>
          <p:cNvSpPr>
            <a:spLocks noGrp="1"/>
          </p:cNvSpPr>
          <p:nvPr>
            <p:ph type="pic" idx="4"/>
          </p:nvPr>
        </p:nvSpPr>
        <p:spPr>
          <a:xfrm>
            <a:off x="1272000" y="1651200"/>
            <a:ext cx="1176000" cy="1459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sp>
      <p:sp>
        <p:nvSpPr>
          <p:cNvPr id="480" name="Google Shape;480;p14"/>
          <p:cNvSpPr>
            <a:spLocks noGrp="1"/>
          </p:cNvSpPr>
          <p:nvPr>
            <p:ph type="pic" idx="5"/>
          </p:nvPr>
        </p:nvSpPr>
        <p:spPr>
          <a:xfrm>
            <a:off x="4780800" y="1651200"/>
            <a:ext cx="1176000" cy="1459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sp>
      <p:sp>
        <p:nvSpPr>
          <p:cNvPr id="481" name="Google Shape;481;p14"/>
          <p:cNvSpPr>
            <a:spLocks noGrp="1"/>
          </p:cNvSpPr>
          <p:nvPr>
            <p:ph type="pic" idx="6"/>
          </p:nvPr>
        </p:nvSpPr>
        <p:spPr>
          <a:xfrm>
            <a:off x="8289600" y="1651200"/>
            <a:ext cx="1176000" cy="1459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sp>
      <p:sp>
        <p:nvSpPr>
          <p:cNvPr id="482" name="Google Shape;482;p14"/>
          <p:cNvSpPr>
            <a:spLocks noGrp="1"/>
          </p:cNvSpPr>
          <p:nvPr>
            <p:ph type="pic" idx="7"/>
          </p:nvPr>
        </p:nvSpPr>
        <p:spPr>
          <a:xfrm>
            <a:off x="1272000" y="4070400"/>
            <a:ext cx="1176000" cy="1459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sp>
      <p:sp>
        <p:nvSpPr>
          <p:cNvPr id="483" name="Google Shape;483;p14"/>
          <p:cNvSpPr>
            <a:spLocks noGrp="1"/>
          </p:cNvSpPr>
          <p:nvPr>
            <p:ph type="pic" idx="8"/>
          </p:nvPr>
        </p:nvSpPr>
        <p:spPr>
          <a:xfrm>
            <a:off x="4780800" y="4070400"/>
            <a:ext cx="1176000" cy="1459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sp>
      <p:sp>
        <p:nvSpPr>
          <p:cNvPr id="484" name="Google Shape;484;p14"/>
          <p:cNvSpPr>
            <a:spLocks noGrp="1"/>
          </p:cNvSpPr>
          <p:nvPr>
            <p:ph type="pic" idx="9"/>
          </p:nvPr>
        </p:nvSpPr>
        <p:spPr>
          <a:xfrm>
            <a:off x="8289600" y="4070400"/>
            <a:ext cx="1176000" cy="1459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sp>
      <p:sp>
        <p:nvSpPr>
          <p:cNvPr id="485" name="Google Shape;485;p14"/>
          <p:cNvSpPr txBox="1">
            <a:spLocks noGrp="1"/>
          </p:cNvSpPr>
          <p:nvPr>
            <p:ph type="body" idx="13"/>
          </p:nvPr>
        </p:nvSpPr>
        <p:spPr>
          <a:xfrm>
            <a:off x="9465600" y="3950400"/>
            <a:ext cx="2212800" cy="24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945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Work Sans Medium"/>
              <a:buChar char="•"/>
              <a:defRPr sz="1333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sp>
        <p:nvSpPr>
          <p:cNvPr id="486" name="Google Shape;486;p14"/>
          <p:cNvSpPr txBox="1">
            <a:spLocks noGrp="1"/>
          </p:cNvSpPr>
          <p:nvPr>
            <p:ph type="body" idx="14"/>
          </p:nvPr>
        </p:nvSpPr>
        <p:spPr>
          <a:xfrm>
            <a:off x="2448000" y="3950400"/>
            <a:ext cx="2212800" cy="24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945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Work Sans Medium"/>
              <a:buChar char="•"/>
              <a:defRPr sz="1333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sp>
        <p:nvSpPr>
          <p:cNvPr id="487" name="Google Shape;487;p14"/>
          <p:cNvSpPr txBox="1">
            <a:spLocks noGrp="1"/>
          </p:cNvSpPr>
          <p:nvPr>
            <p:ph type="body" idx="15"/>
          </p:nvPr>
        </p:nvSpPr>
        <p:spPr>
          <a:xfrm>
            <a:off x="5956800" y="3950400"/>
            <a:ext cx="2212800" cy="24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945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Work Sans Medium"/>
              <a:buChar char="•"/>
              <a:defRPr sz="1333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cxnSp>
        <p:nvCxnSpPr>
          <p:cNvPr id="488" name="Google Shape;488;p14"/>
          <p:cNvCxnSpPr/>
          <p:nvPr/>
        </p:nvCxnSpPr>
        <p:spPr>
          <a:xfrm>
            <a:off x="1272000" y="1537367"/>
            <a:ext cx="3266400" cy="0"/>
          </a:xfrm>
          <a:prstGeom prst="straightConnector1">
            <a:avLst/>
          </a:prstGeom>
          <a:noFill/>
          <a:ln w="9525" cap="flat" cmpd="sng">
            <a:solidFill>
              <a:srgbClr val="CEB3D3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89" name="Google Shape;489;p14"/>
          <p:cNvCxnSpPr/>
          <p:nvPr/>
        </p:nvCxnSpPr>
        <p:spPr>
          <a:xfrm>
            <a:off x="4780800" y="1537367"/>
            <a:ext cx="3266400" cy="0"/>
          </a:xfrm>
          <a:prstGeom prst="straightConnector1">
            <a:avLst/>
          </a:prstGeom>
          <a:noFill/>
          <a:ln w="9525" cap="flat" cmpd="sng">
            <a:solidFill>
              <a:srgbClr val="CEB3D3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90" name="Google Shape;490;p14"/>
          <p:cNvCxnSpPr/>
          <p:nvPr/>
        </p:nvCxnSpPr>
        <p:spPr>
          <a:xfrm>
            <a:off x="8289600" y="1537367"/>
            <a:ext cx="3266400" cy="0"/>
          </a:xfrm>
          <a:prstGeom prst="straightConnector1">
            <a:avLst/>
          </a:prstGeom>
          <a:noFill/>
          <a:ln w="9525" cap="flat" cmpd="sng">
            <a:solidFill>
              <a:srgbClr val="CEB3D3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91" name="Google Shape;491;p14"/>
          <p:cNvCxnSpPr/>
          <p:nvPr/>
        </p:nvCxnSpPr>
        <p:spPr>
          <a:xfrm>
            <a:off x="1272000" y="3957067"/>
            <a:ext cx="3266400" cy="0"/>
          </a:xfrm>
          <a:prstGeom prst="straightConnector1">
            <a:avLst/>
          </a:prstGeom>
          <a:noFill/>
          <a:ln w="9525" cap="flat" cmpd="sng">
            <a:solidFill>
              <a:srgbClr val="CEB3D3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92" name="Google Shape;492;p14"/>
          <p:cNvCxnSpPr/>
          <p:nvPr/>
        </p:nvCxnSpPr>
        <p:spPr>
          <a:xfrm>
            <a:off x="4780800" y="3957067"/>
            <a:ext cx="3266400" cy="0"/>
          </a:xfrm>
          <a:prstGeom prst="straightConnector1">
            <a:avLst/>
          </a:prstGeom>
          <a:noFill/>
          <a:ln w="9525" cap="flat" cmpd="sng">
            <a:solidFill>
              <a:srgbClr val="CEB3D3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93" name="Google Shape;493;p14"/>
          <p:cNvCxnSpPr/>
          <p:nvPr/>
        </p:nvCxnSpPr>
        <p:spPr>
          <a:xfrm>
            <a:off x="8289600" y="3957067"/>
            <a:ext cx="3266400" cy="0"/>
          </a:xfrm>
          <a:prstGeom prst="straightConnector1">
            <a:avLst/>
          </a:prstGeom>
          <a:noFill/>
          <a:ln w="9525" cap="flat" cmpd="sng">
            <a:solidFill>
              <a:srgbClr val="CEB3D3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202">
          <p15:clr>
            <a:srgbClr val="E46962"/>
          </p15:clr>
        </p15:guide>
        <p15:guide id="2" pos="3860">
          <p15:clr>
            <a:srgbClr val="E46962"/>
          </p15:clr>
        </p15:guide>
        <p15:guide id="3" pos="5517">
          <p15:clr>
            <a:srgbClr val="E46962"/>
          </p15:clr>
        </p15:guide>
        <p15:guide id="4" pos="544">
          <p15:clr>
            <a:srgbClr val="E46962"/>
          </p15:clr>
        </p15:guide>
        <p15:guide id="5" orient="horz" pos="138">
          <p15:clr>
            <a:srgbClr val="E46962"/>
          </p15:clr>
        </p15:guide>
        <p15:guide id="6" orient="horz" pos="780">
          <p15:clr>
            <a:srgbClr val="E46962"/>
          </p15:clr>
        </p15:guide>
        <p15:guide id="7" orient="horz" pos="1923">
          <p15:clr>
            <a:srgbClr val="E46962"/>
          </p15:clr>
        </p15:guide>
        <p15:guide id="8" orient="horz" pos="1866">
          <p15:clr>
            <a:srgbClr val="E46962"/>
          </p15:clr>
        </p15:guide>
        <p15:guide id="9" orient="horz" pos="726">
          <p15:clr>
            <a:srgbClr val="E46962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2 columns" type="twoColTx">
  <p:cSld name="Title and 2 columns">
    <p:bg>
      <p:bgPr>
        <a:solidFill>
          <a:srgbClr val="F4F5F1"/>
        </a:solidFill>
        <a:effectLst/>
      </p:bgPr>
    </p:bg>
    <p:spTree>
      <p:nvGrpSpPr>
        <p:cNvPr id="1" name="Shape 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5" name="Google Shape;495;p15"/>
          <p:cNvSpPr/>
          <p:nvPr/>
        </p:nvSpPr>
        <p:spPr>
          <a:xfrm>
            <a:off x="6415400" y="0"/>
            <a:ext cx="57768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96" name="Google Shape;496;p15"/>
          <p:cNvSpPr txBox="1">
            <a:spLocks noGrp="1"/>
          </p:cNvSpPr>
          <p:nvPr>
            <p:ph type="title"/>
          </p:nvPr>
        </p:nvSpPr>
        <p:spPr>
          <a:xfrm>
            <a:off x="1152000" y="291224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97" name="Google Shape;497;p15"/>
          <p:cNvSpPr txBox="1">
            <a:spLocks noGrp="1"/>
          </p:cNvSpPr>
          <p:nvPr>
            <p:ph type="body" idx="1"/>
          </p:nvPr>
        </p:nvSpPr>
        <p:spPr>
          <a:xfrm>
            <a:off x="1152000" y="2001600"/>
            <a:ext cx="5263200" cy="40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/>
            </a:lvl1pPr>
            <a:lvl2pPr marL="1219170" lvl="1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2pPr>
            <a:lvl3pPr marL="1828754" lvl="2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3pPr>
            <a:lvl4pPr marL="2438339" lvl="3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4pPr>
            <a:lvl5pPr marL="3047924" lvl="4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5pPr>
            <a:lvl6pPr marL="3657509" lvl="5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6pPr>
            <a:lvl7pPr marL="4267093" lvl="6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7pPr>
            <a:lvl8pPr marL="4876678" lvl="7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8pPr>
            <a:lvl9pPr marL="5486263" lvl="8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9pPr>
          </a:lstStyle>
          <a:p>
            <a:endParaRPr/>
          </a:p>
        </p:txBody>
      </p:sp>
      <p:sp>
        <p:nvSpPr>
          <p:cNvPr id="498" name="Google Shape;498;p15"/>
          <p:cNvSpPr txBox="1">
            <a:spLocks noGrp="1"/>
          </p:cNvSpPr>
          <p:nvPr>
            <p:ph type="body" idx="2"/>
          </p:nvPr>
        </p:nvSpPr>
        <p:spPr>
          <a:xfrm>
            <a:off x="6864300" y="2001600"/>
            <a:ext cx="4814000" cy="406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/>
            </a:lvl1pPr>
            <a:lvl2pPr marL="1219170" lvl="1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2pPr>
            <a:lvl3pPr marL="1828754" lvl="2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3pPr>
            <a:lvl4pPr marL="2438339" lvl="3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4pPr>
            <a:lvl5pPr marL="3047924" lvl="4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5pPr>
            <a:lvl6pPr marL="3657509" lvl="5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6pPr>
            <a:lvl7pPr marL="4267093" lvl="6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7pPr>
            <a:lvl8pPr marL="4876678" lvl="7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8pPr>
            <a:lvl9pPr marL="5486263" lvl="8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9pPr>
          </a:lstStyle>
          <a:p>
            <a:endParaRPr/>
          </a:p>
        </p:txBody>
      </p:sp>
      <p:sp>
        <p:nvSpPr>
          <p:cNvPr id="499" name="Google Shape;499;p15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500" name="Google Shape;500;p15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01" name="Google Shape;501;p15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502" name="Google Shape;502;p15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503" name="Google Shape;503;p15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04" name="Google Shape;504;p15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05" name="Google Shape;505;p15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06" name="Google Shape;506;p15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07" name="Google Shape;507;p15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08" name="Google Shape;508;p15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09" name="Google Shape;509;p15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0" name="Google Shape;510;p15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1" name="Google Shape;511;p15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2" name="Google Shape;512;p15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3" name="Google Shape;513;p15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4" name="Google Shape;514;p15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5" name="Google Shape;515;p15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6" name="Google Shape;516;p15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7" name="Google Shape;517;p15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8" name="Google Shape;518;p15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9" name="Google Shape;519;p15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0" name="Google Shape;520;p15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1" name="Google Shape;521;p15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2" name="Google Shape;522;p15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3" name="Google Shape;523;p15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4" name="Google Shape;524;p15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5" name="Google Shape;525;p15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6" name="Google Shape;526;p15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7" name="Google Shape;527;p15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8" name="Google Shape;528;p15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9" name="Google Shape;529;p15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0" name="Google Shape;530;p15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1" name="Google Shape;531;p15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2" name="Google Shape;532;p15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3" name="Google Shape;533;p15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4" name="Google Shape;534;p15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5" name="Google Shape;535;p15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6" name="Google Shape;536;p15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7" name="Google Shape;537;p15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8" name="Google Shape;538;p15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9" name="Google Shape;539;p15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40" name="Google Shape;540;p15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41" name="Google Shape;541;p15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42" name="Google Shape;542;p15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43" name="Google Shape;543;p15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44" name="Google Shape;544;p15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45" name="Google Shape;545;p15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46" name="Google Shape;546;p15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47" name="Google Shape;547;p15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243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946">
          <p15:clr>
            <a:srgbClr val="E46962"/>
          </p15:clr>
        </p15:guide>
        <p15:guide id="4" pos="3031">
          <p15:clr>
            <a:srgbClr val="E46962"/>
          </p15:clr>
        </p15:guide>
        <p15:guide id="5" pos="5517">
          <p15:clr>
            <a:srgbClr val="E46962"/>
          </p15:clr>
        </p15:guide>
        <p15:guide id="6" pos="544">
          <p15:clr>
            <a:srgbClr val="E46962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sous-titre 2">
  <p:cSld name="Titre et sous-titre 2">
    <p:bg>
      <p:bgPr>
        <a:solidFill>
          <a:srgbClr val="F4F5F1"/>
        </a:solidFill>
        <a:effectLst/>
      </p:bgPr>
    </p:bg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16"/>
          <p:cNvSpPr txBox="1">
            <a:spLocks noGrp="1"/>
          </p:cNvSpPr>
          <p:nvPr>
            <p:ph type="title"/>
          </p:nvPr>
        </p:nvSpPr>
        <p:spPr>
          <a:xfrm>
            <a:off x="1152000" y="291235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50" name="Google Shape;550;p16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551" name="Google Shape;551;p16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52" name="Google Shape;552;p16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53" name="Google Shape;553;p16"/>
          <p:cNvSpPr txBox="1">
            <a:spLocks noGrp="1"/>
          </p:cNvSpPr>
          <p:nvPr>
            <p:ph type="subTitle" idx="1"/>
          </p:nvPr>
        </p:nvSpPr>
        <p:spPr>
          <a:xfrm>
            <a:off x="1152000" y="2001600"/>
            <a:ext cx="3453600" cy="38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pos="5517">
          <p15:clr>
            <a:srgbClr val="E46962"/>
          </p15:clr>
        </p15:guide>
        <p15:guide id="3" orient="horz" pos="138">
          <p15:clr>
            <a:srgbClr val="E46962"/>
          </p15:clr>
        </p15:guide>
        <p15:guide id="4" orient="horz" pos="544">
          <p15:clr>
            <a:srgbClr val="E46962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texte sur 4 colonnes">
  <p:cSld name="Titre et texte sur 4 colonnes">
    <p:bg>
      <p:bgPr>
        <a:solidFill>
          <a:srgbClr val="F4F5F1"/>
        </a:solidFill>
        <a:effectLst/>
      </p:bgPr>
    </p:bg>
    <p:spTree>
      <p:nvGrpSpPr>
        <p:cNvPr id="1" name="Shape 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5" name="Google Shape;555;p17"/>
          <p:cNvSpPr txBox="1">
            <a:spLocks noGrp="1"/>
          </p:cNvSpPr>
          <p:nvPr>
            <p:ph type="body" idx="1"/>
          </p:nvPr>
        </p:nvSpPr>
        <p:spPr>
          <a:xfrm>
            <a:off x="6415200" y="2001600"/>
            <a:ext cx="2631600" cy="41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Work Sans Medium"/>
              <a:buChar char="•"/>
              <a:defRPr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556" name="Google Shape;556;p17"/>
          <p:cNvSpPr txBox="1">
            <a:spLocks noGrp="1"/>
          </p:cNvSpPr>
          <p:nvPr>
            <p:ph type="title"/>
          </p:nvPr>
        </p:nvSpPr>
        <p:spPr>
          <a:xfrm>
            <a:off x="1152000" y="291224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57" name="Google Shape;557;p17"/>
          <p:cNvSpPr txBox="1">
            <a:spLocks noGrp="1"/>
          </p:cNvSpPr>
          <p:nvPr>
            <p:ph type="body" idx="2"/>
          </p:nvPr>
        </p:nvSpPr>
        <p:spPr>
          <a:xfrm>
            <a:off x="1152000" y="2001600"/>
            <a:ext cx="2631600" cy="41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Work Sans Medium"/>
              <a:buChar char="•"/>
              <a:defRPr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558" name="Google Shape;558;p17"/>
          <p:cNvSpPr txBox="1">
            <a:spLocks noGrp="1"/>
          </p:cNvSpPr>
          <p:nvPr>
            <p:ph type="body" idx="3"/>
          </p:nvPr>
        </p:nvSpPr>
        <p:spPr>
          <a:xfrm>
            <a:off x="3783600" y="2001600"/>
            <a:ext cx="2631600" cy="41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Work Sans Medium"/>
              <a:buChar char="•"/>
              <a:defRPr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559" name="Google Shape;559;p17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560" name="Google Shape;560;p17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1" name="Google Shape;561;p17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62" name="Google Shape;562;p17"/>
          <p:cNvSpPr txBox="1">
            <a:spLocks noGrp="1"/>
          </p:cNvSpPr>
          <p:nvPr>
            <p:ph type="body" idx="4"/>
          </p:nvPr>
        </p:nvSpPr>
        <p:spPr>
          <a:xfrm>
            <a:off x="9046800" y="2001600"/>
            <a:ext cx="2631600" cy="41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Work Sans Medium"/>
              <a:buChar char="•"/>
              <a:defRPr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60">
          <p15:clr>
            <a:srgbClr val="E46962"/>
          </p15:clr>
        </p15:guide>
        <p15:guide id="2" pos="5517">
          <p15:clr>
            <a:srgbClr val="E46962"/>
          </p15:clr>
        </p15:guide>
        <p15:guide id="3" pos="544">
          <p15:clr>
            <a:srgbClr val="E46962"/>
          </p15:clr>
        </p15:guide>
        <p15:guide id="4" orient="horz" pos="138">
          <p15:clr>
            <a:srgbClr val="E46962"/>
          </p15:clr>
        </p15:guide>
        <p15:guide id="5" orient="horz" pos="946">
          <p15:clr>
            <a:srgbClr val="E46962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97866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texte sur 5 colonnes">
  <p:cSld name="Titre et texte sur 5 colonnes">
    <p:bg>
      <p:bgPr>
        <a:solidFill>
          <a:srgbClr val="F4F5F1"/>
        </a:solidFill>
        <a:effectLst/>
      </p:bgPr>
    </p:bg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18"/>
          <p:cNvSpPr txBox="1">
            <a:spLocks noGrp="1"/>
          </p:cNvSpPr>
          <p:nvPr>
            <p:ph type="body" idx="1"/>
          </p:nvPr>
        </p:nvSpPr>
        <p:spPr>
          <a:xfrm>
            <a:off x="5362567" y="2001600"/>
            <a:ext cx="2105200" cy="41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Font typeface="Work Sans Medium"/>
              <a:buChar char="•"/>
              <a:defRPr sz="1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sp>
        <p:nvSpPr>
          <p:cNvPr id="565" name="Google Shape;565;p18"/>
          <p:cNvSpPr txBox="1">
            <a:spLocks noGrp="1"/>
          </p:cNvSpPr>
          <p:nvPr>
            <p:ph type="title"/>
          </p:nvPr>
        </p:nvSpPr>
        <p:spPr>
          <a:xfrm>
            <a:off x="1152000" y="291224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p18"/>
          <p:cNvSpPr txBox="1">
            <a:spLocks noGrp="1"/>
          </p:cNvSpPr>
          <p:nvPr>
            <p:ph type="body" idx="2"/>
          </p:nvPr>
        </p:nvSpPr>
        <p:spPr>
          <a:xfrm>
            <a:off x="1152000" y="2001600"/>
            <a:ext cx="2105200" cy="41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Font typeface="Work Sans Medium"/>
              <a:buChar char="•"/>
              <a:defRPr sz="1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sp>
        <p:nvSpPr>
          <p:cNvPr id="567" name="Google Shape;567;p18"/>
          <p:cNvSpPr txBox="1">
            <a:spLocks noGrp="1"/>
          </p:cNvSpPr>
          <p:nvPr>
            <p:ph type="body" idx="3"/>
          </p:nvPr>
        </p:nvSpPr>
        <p:spPr>
          <a:xfrm>
            <a:off x="3257200" y="2001600"/>
            <a:ext cx="2105200" cy="41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Font typeface="Work Sans Medium"/>
              <a:buChar char="•"/>
              <a:defRPr sz="1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sp>
        <p:nvSpPr>
          <p:cNvPr id="568" name="Google Shape;568;p18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569" name="Google Shape;569;p18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70" name="Google Shape;570;p18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1" name="Google Shape;571;p18"/>
          <p:cNvSpPr txBox="1">
            <a:spLocks noGrp="1"/>
          </p:cNvSpPr>
          <p:nvPr>
            <p:ph type="body" idx="4"/>
          </p:nvPr>
        </p:nvSpPr>
        <p:spPr>
          <a:xfrm>
            <a:off x="7467767" y="2001600"/>
            <a:ext cx="2105200" cy="41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Font typeface="Work Sans Medium"/>
              <a:buChar char="•"/>
              <a:defRPr sz="1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  <p:sp>
        <p:nvSpPr>
          <p:cNvPr id="572" name="Google Shape;572;p18"/>
          <p:cNvSpPr txBox="1">
            <a:spLocks noGrp="1"/>
          </p:cNvSpPr>
          <p:nvPr>
            <p:ph type="body" idx="5"/>
          </p:nvPr>
        </p:nvSpPr>
        <p:spPr>
          <a:xfrm>
            <a:off x="9573300" y="2001600"/>
            <a:ext cx="2105200" cy="41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Font typeface="Work Sans Medium"/>
              <a:buChar char="•"/>
              <a:defRPr sz="1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marL="1219170" lvl="1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2pPr>
            <a:lvl3pPr marL="1828754" lvl="2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3pPr>
            <a:lvl4pPr marL="2438339" lvl="3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4pPr>
            <a:lvl5pPr marL="3047924" lvl="4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5pPr>
            <a:lvl6pPr marL="3657509" lvl="5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6pPr>
            <a:lvl7pPr marL="4267093" lvl="6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7pPr>
            <a:lvl8pPr marL="4876678" lvl="7" indent="-38099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900"/>
              <a:buChar char="•"/>
              <a:defRPr sz="1200"/>
            </a:lvl8pPr>
            <a:lvl9pPr marL="5486263" lvl="8" indent="-380990" algn="l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SzPts val="900"/>
              <a:buChar char="•"/>
              <a:defRPr sz="1200"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pos="5517">
          <p15:clr>
            <a:srgbClr val="E46962"/>
          </p15:clr>
        </p15:guide>
        <p15:guide id="3" pos="1539">
          <p15:clr>
            <a:srgbClr val="E46962"/>
          </p15:clr>
        </p15:guide>
        <p15:guide id="4" orient="horz" pos="138">
          <p15:clr>
            <a:srgbClr val="E46962"/>
          </p15:clr>
        </p15:guide>
        <p15:guide id="5" orient="horz" pos="946">
          <p15:clr>
            <a:srgbClr val="E46962"/>
          </p15:clr>
        </p15:guide>
        <p15:guide id="6" pos="2533">
          <p15:clr>
            <a:srgbClr val="E46962"/>
          </p15:clr>
        </p15:guide>
        <p15:guide id="7" pos="3528">
          <p15:clr>
            <a:srgbClr val="E46962"/>
          </p15:clr>
        </p15:guide>
        <p15:guide id="8" pos="4523">
          <p15:clr>
            <a:srgbClr val="E46962"/>
          </p15:clr>
        </p15:guide>
        <p15:guide id="9" pos="1596">
          <p15:clr>
            <a:srgbClr val="E46962"/>
          </p15:clr>
        </p15:guide>
        <p15:guide id="10" pos="1482">
          <p15:clr>
            <a:srgbClr val="E46962"/>
          </p15:clr>
        </p15:guide>
        <p15:guide id="11" pos="2477">
          <p15:clr>
            <a:srgbClr val="E46962"/>
          </p15:clr>
        </p15:guide>
        <p15:guide id="12" pos="2590">
          <p15:clr>
            <a:srgbClr val="E46962"/>
          </p15:clr>
        </p15:guide>
        <p15:guide id="13" pos="3471">
          <p15:clr>
            <a:srgbClr val="E46962"/>
          </p15:clr>
        </p15:guide>
        <p15:guide id="14" pos="3585">
          <p15:clr>
            <a:srgbClr val="E46962"/>
          </p15:clr>
        </p15:guide>
        <p15:guide id="15" pos="4466">
          <p15:clr>
            <a:srgbClr val="E46962"/>
          </p15:clr>
        </p15:guide>
        <p15:guide id="16" pos="4579">
          <p15:clr>
            <a:srgbClr val="E46962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phique avec texte 1">
  <p:cSld name="Graphique avec texte 1"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" name="Google Shape;574;p19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10516800" cy="8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575" name="Google Shape;575;p19"/>
          <p:cNvSpPr txBox="1">
            <a:spLocks noGrp="1"/>
          </p:cNvSpPr>
          <p:nvPr>
            <p:ph type="body" idx="1"/>
          </p:nvPr>
        </p:nvSpPr>
        <p:spPr>
          <a:xfrm>
            <a:off x="1152000" y="2768537"/>
            <a:ext cx="3159200" cy="28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576" name="Google Shape;576;p19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577" name="Google Shape;577;p19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78" name="Google Shape;578;p19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9" name="Google Shape;579;p19"/>
          <p:cNvSpPr txBox="1">
            <a:spLocks noGrp="1"/>
          </p:cNvSpPr>
          <p:nvPr>
            <p:ph type="subTitle" idx="2"/>
          </p:nvPr>
        </p:nvSpPr>
        <p:spPr>
          <a:xfrm>
            <a:off x="1152000" y="1297333"/>
            <a:ext cx="3159200" cy="10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613">
          <p15:clr>
            <a:srgbClr val="E46962"/>
          </p15:clr>
        </p15:guide>
        <p15:guide id="4" orient="horz" pos="1308">
          <p15:clr>
            <a:srgbClr val="E46962"/>
          </p15:clr>
        </p15:guide>
        <p15:guide id="5" pos="5513">
          <p15:clr>
            <a:srgbClr val="E46962"/>
          </p15:clr>
        </p15:guide>
        <p15:guide id="6" pos="2113">
          <p15:clr>
            <a:srgbClr val="E46962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phique avec texte 2">
  <p:cSld name="Graphique avec texte 2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Google Shape;581;p20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10516800" cy="8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582" name="Google Shape;582;p20"/>
          <p:cNvSpPr txBox="1">
            <a:spLocks noGrp="1"/>
          </p:cNvSpPr>
          <p:nvPr>
            <p:ph type="body" idx="1"/>
          </p:nvPr>
        </p:nvSpPr>
        <p:spPr>
          <a:xfrm>
            <a:off x="1152000" y="2768536"/>
            <a:ext cx="4011200" cy="28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583" name="Google Shape;583;p20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584" name="Google Shape;584;p20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85" name="Google Shape;585;p20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86" name="Google Shape;586;p20"/>
          <p:cNvSpPr txBox="1">
            <a:spLocks noGrp="1"/>
          </p:cNvSpPr>
          <p:nvPr>
            <p:ph type="subTitle" idx="2"/>
          </p:nvPr>
        </p:nvSpPr>
        <p:spPr>
          <a:xfrm>
            <a:off x="1152000" y="1297333"/>
            <a:ext cx="4011200" cy="10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613">
          <p15:clr>
            <a:srgbClr val="E46962"/>
          </p15:clr>
        </p15:guide>
        <p15:guide id="4" orient="horz" pos="1308">
          <p15:clr>
            <a:srgbClr val="E46962"/>
          </p15:clr>
        </p15:guide>
        <p15:guide id="5" pos="5513">
          <p15:clr>
            <a:srgbClr val="E46962"/>
          </p15:clr>
        </p15:guide>
        <p15:guide id="6" pos="2633">
          <p15:clr>
            <a:srgbClr val="E46962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sans mosaïque">
  <p:cSld name="Titre sans mosaïque">
    <p:bg>
      <p:bgPr>
        <a:solidFill>
          <a:schemeClr val="dk1"/>
        </a:solidFill>
        <a:effectLst/>
      </p:bgPr>
    </p:bg>
    <p:spTree>
      <p:nvGrpSpPr>
        <p:cNvPr id="1" name="Shape 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" name="Google Shape;588;p21"/>
          <p:cNvSpPr txBox="1">
            <a:spLocks noGrp="1"/>
          </p:cNvSpPr>
          <p:nvPr>
            <p:ph type="ctrTitle"/>
          </p:nvPr>
        </p:nvSpPr>
        <p:spPr>
          <a:xfrm>
            <a:off x="1272000" y="3812369"/>
            <a:ext cx="7894800" cy="886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None/>
              <a:defRPr sz="5067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89" name="Google Shape;589;p21"/>
          <p:cNvSpPr txBox="1">
            <a:spLocks noGrp="1"/>
          </p:cNvSpPr>
          <p:nvPr>
            <p:ph type="subTitle" idx="1"/>
          </p:nvPr>
        </p:nvSpPr>
        <p:spPr>
          <a:xfrm>
            <a:off x="1272000" y="4849633"/>
            <a:ext cx="7894800" cy="12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90" name="Google Shape;590;p21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grpSp>
        <p:nvGrpSpPr>
          <p:cNvPr id="591" name="Google Shape;591;p21"/>
          <p:cNvGrpSpPr/>
          <p:nvPr/>
        </p:nvGrpSpPr>
        <p:grpSpPr>
          <a:xfrm>
            <a:off x="1409794" y="513505"/>
            <a:ext cx="1631813" cy="482591"/>
            <a:chOff x="249750" y="1780450"/>
            <a:chExt cx="7107200" cy="2090950"/>
          </a:xfrm>
        </p:grpSpPr>
        <p:sp>
          <p:nvSpPr>
            <p:cNvPr id="592" name="Google Shape;592;p21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93" name="Google Shape;593;p21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94" name="Google Shape;594;p21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95" name="Google Shape;595;p21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96" name="Google Shape;596;p21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97" name="Google Shape;597;p21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98" name="Google Shape;598;p21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99" name="Google Shape;599;p21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0" name="Google Shape;600;p21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1" name="Google Shape;601;p21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2" name="Google Shape;602;p21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3" name="Google Shape;603;p21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4" name="Google Shape;604;p21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5" name="Google Shape;605;p21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6" name="Google Shape;606;p21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7" name="Google Shape;607;p21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8" name="Google Shape;608;p21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09" name="Google Shape;609;p21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0" name="Google Shape;610;p21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1" name="Google Shape;611;p21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2" name="Google Shape;612;p21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3" name="Google Shape;613;p21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4" name="Google Shape;614;p21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5" name="Google Shape;615;p21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6" name="Google Shape;616;p21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7" name="Google Shape;617;p21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8" name="Google Shape;618;p21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19" name="Google Shape;619;p21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0" name="Google Shape;620;p21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1" name="Google Shape;621;p21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2" name="Google Shape;622;p21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3" name="Google Shape;623;p21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4" name="Google Shape;624;p21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5" name="Google Shape;625;p21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6" name="Google Shape;626;p21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7" name="Google Shape;627;p21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8" name="Google Shape;628;p21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29" name="Google Shape;629;p21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30" name="Google Shape;630;p21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31" name="Google Shape;631;p21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32" name="Google Shape;632;p21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33" name="Google Shape;633;p21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34" name="Google Shape;634;p21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35" name="Google Shape;635;p21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36" name="Google Shape;636;p21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cxnSp>
        <p:nvCxnSpPr>
          <p:cNvPr id="637" name="Google Shape;637;p21"/>
          <p:cNvCxnSpPr/>
          <p:nvPr/>
        </p:nvCxnSpPr>
        <p:spPr>
          <a:xfrm>
            <a:off x="1399167" y="1238400"/>
            <a:ext cx="9402000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665">
          <p15:clr>
            <a:srgbClr val="E46962"/>
          </p15:clr>
        </p15:guide>
        <p15:guide id="2" pos="5518">
          <p15:clr>
            <a:srgbClr val="E46962"/>
          </p15:clr>
        </p15:guide>
        <p15:guide id="3" orient="horz" pos="2291">
          <p15:clr>
            <a:srgbClr val="E46962"/>
          </p15:clr>
        </p15:guide>
        <p15:guide id="4" orient="horz" pos="2220">
          <p15:clr>
            <a:srgbClr val="E46962"/>
          </p15:clr>
        </p15:guide>
        <p15:guide id="5" orient="horz" pos="585">
          <p15:clr>
            <a:srgbClr val="E46962"/>
          </p15:clr>
        </p15:guide>
        <p15:guide id="6" orient="horz" pos="2792">
          <p15:clr>
            <a:srgbClr val="E46962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2">
  <p:cSld name="Section header 2">
    <p:bg>
      <p:bgPr>
        <a:solidFill>
          <a:srgbClr val="F2C1D3"/>
        </a:solidFill>
        <a:effectLst/>
      </p:bgPr>
    </p:bg>
    <p:spTree>
      <p:nvGrpSpPr>
        <p:cNvPr id="1" name="Shape 6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9" name="Google Shape;639;p22"/>
          <p:cNvSpPr txBox="1">
            <a:spLocks noGrp="1"/>
          </p:cNvSpPr>
          <p:nvPr>
            <p:ph type="title"/>
          </p:nvPr>
        </p:nvSpPr>
        <p:spPr>
          <a:xfrm>
            <a:off x="1152000" y="1101767"/>
            <a:ext cx="5964800" cy="25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300"/>
              <a:buFont typeface="Work Sans Medium"/>
              <a:buNone/>
              <a:defRPr sz="4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640" name="Google Shape;640;p22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sp>
        <p:nvSpPr>
          <p:cNvPr id="641" name="Google Shape;641;p22"/>
          <p:cNvSpPr txBox="1">
            <a:spLocks noGrp="1"/>
          </p:cNvSpPr>
          <p:nvPr>
            <p:ph type="subTitle" idx="1"/>
          </p:nvPr>
        </p:nvSpPr>
        <p:spPr>
          <a:xfrm>
            <a:off x="1152000" y="3673367"/>
            <a:ext cx="5964800" cy="12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642" name="Google Shape;642;p22"/>
          <p:cNvSpPr>
            <a:spLocks noGrp="1"/>
          </p:cNvSpPr>
          <p:nvPr>
            <p:ph type="pic" idx="2"/>
          </p:nvPr>
        </p:nvSpPr>
        <p:spPr>
          <a:xfrm>
            <a:off x="7439533" y="1470533"/>
            <a:ext cx="3796400" cy="3923600"/>
          </a:xfrm>
          <a:prstGeom prst="rect">
            <a:avLst/>
          </a:prstGeom>
          <a:noFill/>
          <a:ln>
            <a:noFill/>
          </a:ln>
        </p:spPr>
      </p:sp>
      <p:cxnSp>
        <p:nvCxnSpPr>
          <p:cNvPr id="643" name="Google Shape;643;p22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735">
          <p15:clr>
            <a:srgbClr val="E46962"/>
          </p15:clr>
        </p15:guide>
        <p15:guide id="3" orient="horz" pos="521">
          <p15:clr>
            <a:srgbClr val="E46962"/>
          </p15:clr>
        </p15:guide>
        <p15:guide id="4" pos="3362">
          <p15:clr>
            <a:srgbClr val="E46962"/>
          </p15:clr>
        </p15:guide>
        <p15:guide id="5" orient="horz" pos="113">
          <p15:clr>
            <a:srgbClr val="E46962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3">
  <p:cSld name="Section header 3">
    <p:bg>
      <p:bgPr>
        <a:solidFill>
          <a:srgbClr val="B9DBC1"/>
        </a:solidFill>
        <a:effectLst/>
      </p:bgPr>
    </p:bg>
    <p:spTree>
      <p:nvGrpSpPr>
        <p:cNvPr id="1" name="Shape 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" name="Google Shape;645;p23"/>
          <p:cNvSpPr txBox="1">
            <a:spLocks noGrp="1"/>
          </p:cNvSpPr>
          <p:nvPr>
            <p:ph type="title"/>
          </p:nvPr>
        </p:nvSpPr>
        <p:spPr>
          <a:xfrm>
            <a:off x="1152000" y="1101767"/>
            <a:ext cx="5964800" cy="25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300"/>
              <a:buFont typeface="Work Sans Medium"/>
              <a:buNone/>
              <a:defRPr sz="4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646" name="Google Shape;646;p23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sp>
        <p:nvSpPr>
          <p:cNvPr id="647" name="Google Shape;647;p23"/>
          <p:cNvSpPr txBox="1">
            <a:spLocks noGrp="1"/>
          </p:cNvSpPr>
          <p:nvPr>
            <p:ph type="subTitle" idx="1"/>
          </p:nvPr>
        </p:nvSpPr>
        <p:spPr>
          <a:xfrm>
            <a:off x="1152000" y="3673367"/>
            <a:ext cx="5964800" cy="12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648" name="Google Shape;648;p23"/>
          <p:cNvSpPr>
            <a:spLocks noGrp="1"/>
          </p:cNvSpPr>
          <p:nvPr>
            <p:ph type="pic" idx="2"/>
          </p:nvPr>
        </p:nvSpPr>
        <p:spPr>
          <a:xfrm>
            <a:off x="7439533" y="1470533"/>
            <a:ext cx="3796400" cy="3923600"/>
          </a:xfrm>
          <a:prstGeom prst="rect">
            <a:avLst/>
          </a:prstGeom>
          <a:noFill/>
          <a:ln>
            <a:noFill/>
          </a:ln>
        </p:spPr>
      </p:sp>
      <p:cxnSp>
        <p:nvCxnSpPr>
          <p:cNvPr id="649" name="Google Shape;649;p23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735">
          <p15:clr>
            <a:srgbClr val="E46962"/>
          </p15:clr>
        </p15:guide>
        <p15:guide id="3" orient="horz" pos="521">
          <p15:clr>
            <a:srgbClr val="E46962"/>
          </p15:clr>
        </p15:guide>
        <p15:guide id="4" pos="3362">
          <p15:clr>
            <a:srgbClr val="E46962"/>
          </p15:clr>
        </p15:guide>
        <p15:guide id="5" orient="horz" pos="113">
          <p15:clr>
            <a:srgbClr val="E46962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4">
  <p:cSld name="Section header 4">
    <p:bg>
      <p:bgPr>
        <a:solidFill>
          <a:srgbClr val="F4DA92"/>
        </a:solidFill>
        <a:effectLst/>
      </p:bgPr>
    </p:bg>
    <p:spTree>
      <p:nvGrpSpPr>
        <p:cNvPr id="1" name="Shape 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1" name="Google Shape;651;p24"/>
          <p:cNvSpPr txBox="1">
            <a:spLocks noGrp="1"/>
          </p:cNvSpPr>
          <p:nvPr>
            <p:ph type="title"/>
          </p:nvPr>
        </p:nvSpPr>
        <p:spPr>
          <a:xfrm>
            <a:off x="1152000" y="1101767"/>
            <a:ext cx="5964800" cy="25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300"/>
              <a:buFont typeface="Work Sans Medium"/>
              <a:buNone/>
              <a:defRPr sz="4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652" name="Google Shape;652;p24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sp>
        <p:nvSpPr>
          <p:cNvPr id="653" name="Google Shape;653;p24"/>
          <p:cNvSpPr txBox="1">
            <a:spLocks noGrp="1"/>
          </p:cNvSpPr>
          <p:nvPr>
            <p:ph type="subTitle" idx="1"/>
          </p:nvPr>
        </p:nvSpPr>
        <p:spPr>
          <a:xfrm>
            <a:off x="1152000" y="3673367"/>
            <a:ext cx="5964800" cy="12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654" name="Google Shape;654;p24"/>
          <p:cNvSpPr>
            <a:spLocks noGrp="1"/>
          </p:cNvSpPr>
          <p:nvPr>
            <p:ph type="pic" idx="2"/>
          </p:nvPr>
        </p:nvSpPr>
        <p:spPr>
          <a:xfrm>
            <a:off x="7439533" y="1470533"/>
            <a:ext cx="3796400" cy="3923600"/>
          </a:xfrm>
          <a:prstGeom prst="rect">
            <a:avLst/>
          </a:prstGeom>
          <a:noFill/>
          <a:ln>
            <a:noFill/>
          </a:ln>
        </p:spPr>
      </p:sp>
      <p:cxnSp>
        <p:nvCxnSpPr>
          <p:cNvPr id="655" name="Google Shape;655;p24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735">
          <p15:clr>
            <a:srgbClr val="E46962"/>
          </p15:clr>
        </p15:guide>
        <p15:guide id="3" orient="horz" pos="521">
          <p15:clr>
            <a:srgbClr val="E46962"/>
          </p15:clr>
        </p15:guide>
        <p15:guide id="4" pos="3362">
          <p15:clr>
            <a:srgbClr val="E46962"/>
          </p15:clr>
        </p15:guide>
        <p15:guide id="5" orient="horz" pos="113">
          <p15:clr>
            <a:srgbClr val="E46962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5">
  <p:cSld name="Section header 5">
    <p:bg>
      <p:bgPr>
        <a:solidFill>
          <a:srgbClr val="F3B692"/>
        </a:solidFill>
        <a:effectLst/>
      </p:bgPr>
    </p:bg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Google Shape;657;p25"/>
          <p:cNvSpPr txBox="1">
            <a:spLocks noGrp="1"/>
          </p:cNvSpPr>
          <p:nvPr>
            <p:ph type="title"/>
          </p:nvPr>
        </p:nvSpPr>
        <p:spPr>
          <a:xfrm>
            <a:off x="1152000" y="1101767"/>
            <a:ext cx="5964800" cy="25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300"/>
              <a:buFont typeface="Work Sans Medium"/>
              <a:buNone/>
              <a:defRPr sz="4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658" name="Google Shape;658;p25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sp>
        <p:nvSpPr>
          <p:cNvPr id="659" name="Google Shape;659;p25"/>
          <p:cNvSpPr txBox="1">
            <a:spLocks noGrp="1"/>
          </p:cNvSpPr>
          <p:nvPr>
            <p:ph type="subTitle" idx="1"/>
          </p:nvPr>
        </p:nvSpPr>
        <p:spPr>
          <a:xfrm>
            <a:off x="1152000" y="3673367"/>
            <a:ext cx="5964800" cy="12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660" name="Google Shape;660;p25"/>
          <p:cNvSpPr>
            <a:spLocks noGrp="1"/>
          </p:cNvSpPr>
          <p:nvPr>
            <p:ph type="pic" idx="2"/>
          </p:nvPr>
        </p:nvSpPr>
        <p:spPr>
          <a:xfrm>
            <a:off x="7439533" y="1470533"/>
            <a:ext cx="3796400" cy="3923600"/>
          </a:xfrm>
          <a:prstGeom prst="rect">
            <a:avLst/>
          </a:prstGeom>
          <a:noFill/>
          <a:ln>
            <a:noFill/>
          </a:ln>
        </p:spPr>
      </p:sp>
      <p:cxnSp>
        <p:nvCxnSpPr>
          <p:cNvPr id="661" name="Google Shape;661;p25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735">
          <p15:clr>
            <a:srgbClr val="E46962"/>
          </p15:clr>
        </p15:guide>
        <p15:guide id="3" orient="horz" pos="521">
          <p15:clr>
            <a:srgbClr val="E46962"/>
          </p15:clr>
        </p15:guide>
        <p15:guide id="4" pos="3362">
          <p15:clr>
            <a:srgbClr val="E46962"/>
          </p15:clr>
        </p15:guide>
        <p15:guide id="5" orient="horz" pos="113">
          <p15:clr>
            <a:srgbClr val="E46962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texte sur 2 colonnes">
  <p:cSld name="Titre et texte sur 2 colonnes">
    <p:bg>
      <p:bgPr>
        <a:solidFill>
          <a:srgbClr val="F4F5F1"/>
        </a:solidFill>
        <a:effectLst/>
      </p:bgPr>
    </p:bg>
    <p:spTree>
      <p:nvGrpSpPr>
        <p:cNvPr id="1" name="Shape 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3" name="Google Shape;663;p26"/>
          <p:cNvSpPr txBox="1">
            <a:spLocks noGrp="1"/>
          </p:cNvSpPr>
          <p:nvPr>
            <p:ph type="title"/>
          </p:nvPr>
        </p:nvSpPr>
        <p:spPr>
          <a:xfrm>
            <a:off x="1152000" y="291224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64" name="Google Shape;664;p26"/>
          <p:cNvSpPr txBox="1">
            <a:spLocks noGrp="1"/>
          </p:cNvSpPr>
          <p:nvPr>
            <p:ph type="body" idx="1"/>
          </p:nvPr>
        </p:nvSpPr>
        <p:spPr>
          <a:xfrm>
            <a:off x="1152000" y="2001600"/>
            <a:ext cx="5262800" cy="40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/>
            </a:lvl1pPr>
            <a:lvl2pPr marL="1219170" lvl="1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2pPr>
            <a:lvl3pPr marL="1828754" lvl="2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3pPr>
            <a:lvl4pPr marL="2438339" lvl="3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4pPr>
            <a:lvl5pPr marL="3047924" lvl="4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5pPr>
            <a:lvl6pPr marL="3657509" lvl="5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6pPr>
            <a:lvl7pPr marL="4267093" lvl="6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7pPr>
            <a:lvl8pPr marL="4876678" lvl="7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8pPr>
            <a:lvl9pPr marL="5486263" lvl="8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9pPr>
          </a:lstStyle>
          <a:p>
            <a:endParaRPr/>
          </a:p>
        </p:txBody>
      </p:sp>
      <p:sp>
        <p:nvSpPr>
          <p:cNvPr id="665" name="Google Shape;665;p26"/>
          <p:cNvSpPr txBox="1">
            <a:spLocks noGrp="1"/>
          </p:cNvSpPr>
          <p:nvPr>
            <p:ph type="body" idx="2"/>
          </p:nvPr>
        </p:nvSpPr>
        <p:spPr>
          <a:xfrm>
            <a:off x="6415600" y="2001600"/>
            <a:ext cx="5262800" cy="406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/>
            </a:lvl1pPr>
            <a:lvl2pPr marL="1219170" lvl="1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2pPr>
            <a:lvl3pPr marL="1828754" lvl="2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3pPr>
            <a:lvl4pPr marL="2438339" lvl="3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4pPr>
            <a:lvl5pPr marL="3047924" lvl="4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5pPr>
            <a:lvl6pPr marL="3657509" lvl="5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6pPr>
            <a:lvl7pPr marL="4267093" lvl="6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7pPr>
            <a:lvl8pPr marL="4876678" lvl="7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8pPr>
            <a:lvl9pPr marL="5486263" lvl="8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600"/>
            </a:lvl9pPr>
          </a:lstStyle>
          <a:p>
            <a:endParaRPr/>
          </a:p>
        </p:txBody>
      </p:sp>
      <p:sp>
        <p:nvSpPr>
          <p:cNvPr id="666" name="Google Shape;666;p26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667" name="Google Shape;667;p26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68" name="Google Shape;668;p26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031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946">
          <p15:clr>
            <a:srgbClr val="E46962"/>
          </p15:clr>
        </p15:guide>
        <p15:guide id="4" pos="544">
          <p15:clr>
            <a:srgbClr val="E46962"/>
          </p15:clr>
        </p15:guide>
        <p15:guide id="5" pos="5517">
          <p15:clr>
            <a:srgbClr val="E46962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e et image 3">
  <p:cSld name="Texte et image 3">
    <p:bg>
      <p:bgPr>
        <a:solidFill>
          <a:srgbClr val="A9DAE9"/>
        </a:solidFill>
        <a:effectLst/>
      </p:bgPr>
    </p:bg>
    <p:spTree>
      <p:nvGrpSpPr>
        <p:cNvPr id="1" name="Shape 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" name="Google Shape;670;p27"/>
          <p:cNvSpPr/>
          <p:nvPr/>
        </p:nvSpPr>
        <p:spPr>
          <a:xfrm>
            <a:off x="0" y="0"/>
            <a:ext cx="6535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71" name="Google Shape;671;p27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5263200" cy="18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672" name="Google Shape;672;p27"/>
          <p:cNvSpPr txBox="1">
            <a:spLocks noGrp="1"/>
          </p:cNvSpPr>
          <p:nvPr>
            <p:ph type="body" idx="1"/>
          </p:nvPr>
        </p:nvSpPr>
        <p:spPr>
          <a:xfrm>
            <a:off x="1152000" y="3220400"/>
            <a:ext cx="5263200" cy="28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673" name="Google Shape;673;p27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674" name="Google Shape;674;p27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75" name="Google Shape;675;p27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676" name="Google Shape;676;p27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677" name="Google Shape;677;p27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78" name="Google Shape;678;p27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79" name="Google Shape;679;p27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0" name="Google Shape;680;p27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1" name="Google Shape;681;p27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2" name="Google Shape;682;p27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3" name="Google Shape;683;p27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4" name="Google Shape;684;p27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5" name="Google Shape;685;p27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6" name="Google Shape;686;p27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7" name="Google Shape;687;p27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8" name="Google Shape;688;p27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89" name="Google Shape;689;p27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0" name="Google Shape;690;p27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1" name="Google Shape;691;p27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2" name="Google Shape;692;p27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3" name="Google Shape;693;p27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4" name="Google Shape;694;p27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5" name="Google Shape;695;p27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6" name="Google Shape;696;p27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7" name="Google Shape;697;p27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8" name="Google Shape;698;p27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699" name="Google Shape;699;p27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0" name="Google Shape;700;p27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1" name="Google Shape;701;p27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2" name="Google Shape;702;p27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3" name="Google Shape;703;p27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4" name="Google Shape;704;p27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5" name="Google Shape;705;p27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6" name="Google Shape;706;p27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7" name="Google Shape;707;p27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8" name="Google Shape;708;p27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09" name="Google Shape;709;p27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0" name="Google Shape;710;p27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1" name="Google Shape;711;p27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2" name="Google Shape;712;p27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3" name="Google Shape;713;p27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4" name="Google Shape;714;p27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5" name="Google Shape;715;p27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6" name="Google Shape;716;p27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7" name="Google Shape;717;p27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8" name="Google Shape;718;p27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19" name="Google Shape;719;p27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20" name="Google Shape;720;p27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21" name="Google Shape;721;p27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722" name="Google Shape;722;p27"/>
          <p:cNvSpPr txBox="1">
            <a:spLocks noGrp="1"/>
          </p:cNvSpPr>
          <p:nvPr>
            <p:ph type="subTitle" idx="2"/>
          </p:nvPr>
        </p:nvSpPr>
        <p:spPr>
          <a:xfrm>
            <a:off x="1152000" y="2170300"/>
            <a:ext cx="5263200" cy="10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723" name="Google Shape;723;p27"/>
          <p:cNvSpPr>
            <a:spLocks noGrp="1"/>
          </p:cNvSpPr>
          <p:nvPr>
            <p:ph type="pic" idx="3"/>
          </p:nvPr>
        </p:nvSpPr>
        <p:spPr>
          <a:xfrm>
            <a:off x="7439533" y="1470533"/>
            <a:ext cx="3796800" cy="392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1025">
          <p15:clr>
            <a:srgbClr val="E46962"/>
          </p15:clr>
        </p15:guide>
        <p15:guide id="4" orient="horz" pos="1521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>
  <p:cSld name="Titre et contenu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8"/>
          <p:cNvSpPr txBox="1">
            <a:spLocks noGrp="1"/>
          </p:cNvSpPr>
          <p:nvPr>
            <p:ph type="title"/>
          </p:nvPr>
        </p:nvSpPr>
        <p:spPr>
          <a:xfrm>
            <a:off x="838200" y="224448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9pPr>
          </a:lstStyle>
          <a:p>
            <a:endParaRPr lang="en-CA" noProof="0"/>
          </a:p>
        </p:txBody>
      </p:sp>
      <p:sp>
        <p:nvSpPr>
          <p:cNvPr id="20" name="Google Shape;20;p18"/>
          <p:cNvSpPr txBox="1">
            <a:spLocks noGrp="1"/>
          </p:cNvSpPr>
          <p:nvPr>
            <p:ph type="body"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77519" algn="l" latinLnBrk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920"/>
              <a:buChar char="•"/>
              <a:defRPr/>
            </a:lvl1pPr>
            <a:lvl2pPr marL="914400" lvl="1" indent="-441960" algn="l" latinLnBrk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360"/>
              <a:buChar char="•"/>
              <a:defRPr sz="2400" b="0"/>
            </a:lvl2pPr>
            <a:lvl3pPr marL="1371600" lvl="2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/>
            </a:lvl3pPr>
            <a:lvl4pPr marL="1828800" lvl="3" indent="-38861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520"/>
              <a:buChar char="•"/>
              <a:defRPr sz="1800"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/>
            </a:lvl9pPr>
          </a:lstStyle>
          <a:p>
            <a:r>
              <a:rPr lang="en-CA" noProof="0" dirty="0"/>
              <a:t>Blah</a:t>
            </a:r>
          </a:p>
          <a:p>
            <a:pPr lvl="1"/>
            <a:r>
              <a:rPr lang="en-CA" noProof="0" dirty="0"/>
              <a:t>Blah blah </a:t>
            </a:r>
            <a:r>
              <a:rPr lang="en-CA" noProof="0" dirty="0" err="1"/>
              <a:t>klfldjfdkjf</a:t>
            </a:r>
            <a:r>
              <a:rPr lang="en-CA" noProof="0" dirty="0"/>
              <a:t> </a:t>
            </a:r>
            <a:r>
              <a:rPr lang="en-CA" noProof="0" dirty="0" err="1"/>
              <a:t>dkjflkdfjdfj</a:t>
            </a:r>
            <a:r>
              <a:rPr lang="en-CA" noProof="0" dirty="0"/>
              <a:t> </a:t>
            </a:r>
            <a:r>
              <a:rPr lang="en-CA" noProof="0" dirty="0" err="1"/>
              <a:t>dlfjdlkfjdkfj</a:t>
            </a:r>
            <a:r>
              <a:rPr lang="en-CA" noProof="0" dirty="0"/>
              <a:t> </a:t>
            </a:r>
            <a:r>
              <a:rPr lang="en-CA" noProof="0" dirty="0" err="1"/>
              <a:t>dlfkjdlkfjdfklajf</a:t>
            </a:r>
            <a:r>
              <a:rPr lang="en-CA" noProof="0" dirty="0"/>
              <a:t> </a:t>
            </a:r>
            <a:r>
              <a:rPr lang="en-CA" noProof="0" dirty="0" err="1"/>
              <a:t>ldkjfdlkfj</a:t>
            </a:r>
            <a:r>
              <a:rPr lang="en-CA" noProof="0" dirty="0"/>
              <a:t> </a:t>
            </a:r>
            <a:r>
              <a:rPr lang="en-CA" noProof="0" dirty="0" err="1"/>
              <a:t>dkljflkdjf</a:t>
            </a:r>
            <a:r>
              <a:rPr lang="en-CA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32518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e et image 4">
  <p:cSld name="Texte et image 4">
    <p:bg>
      <p:bgPr>
        <a:solidFill>
          <a:srgbClr val="F2C1D3"/>
        </a:solidFill>
        <a:effectLst/>
      </p:bgPr>
    </p:bg>
    <p:spTree>
      <p:nvGrpSpPr>
        <p:cNvPr id="1" name="Shape 7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5" name="Google Shape;725;p28"/>
          <p:cNvSpPr/>
          <p:nvPr/>
        </p:nvSpPr>
        <p:spPr>
          <a:xfrm>
            <a:off x="0" y="0"/>
            <a:ext cx="6535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26" name="Google Shape;726;p28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5263200" cy="18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27" name="Google Shape;727;p28"/>
          <p:cNvSpPr txBox="1">
            <a:spLocks noGrp="1"/>
          </p:cNvSpPr>
          <p:nvPr>
            <p:ph type="body" idx="1"/>
          </p:nvPr>
        </p:nvSpPr>
        <p:spPr>
          <a:xfrm>
            <a:off x="1152000" y="3220400"/>
            <a:ext cx="5263200" cy="28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728" name="Google Shape;728;p28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729" name="Google Shape;729;p28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30" name="Google Shape;730;p28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731" name="Google Shape;731;p28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732" name="Google Shape;732;p28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33" name="Google Shape;733;p28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34" name="Google Shape;734;p28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35" name="Google Shape;735;p28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36" name="Google Shape;736;p28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37" name="Google Shape;737;p28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38" name="Google Shape;738;p28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39" name="Google Shape;739;p28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0" name="Google Shape;740;p28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1" name="Google Shape;741;p28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2" name="Google Shape;742;p28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3" name="Google Shape;743;p28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4" name="Google Shape;744;p28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5" name="Google Shape;745;p28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6" name="Google Shape;746;p28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7" name="Google Shape;747;p28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8" name="Google Shape;748;p28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9" name="Google Shape;749;p28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0" name="Google Shape;750;p28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1" name="Google Shape;751;p28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2" name="Google Shape;752;p28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3" name="Google Shape;753;p28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4" name="Google Shape;754;p28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5" name="Google Shape;755;p28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6" name="Google Shape;756;p28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7" name="Google Shape;757;p28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8" name="Google Shape;758;p28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9" name="Google Shape;759;p28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0" name="Google Shape;760;p28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1" name="Google Shape;761;p28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2" name="Google Shape;762;p28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3" name="Google Shape;763;p28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4" name="Google Shape;764;p28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5" name="Google Shape;765;p28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6" name="Google Shape;766;p28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7" name="Google Shape;767;p28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8" name="Google Shape;768;p28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9" name="Google Shape;769;p28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70" name="Google Shape;770;p28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71" name="Google Shape;771;p28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72" name="Google Shape;772;p28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73" name="Google Shape;773;p28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74" name="Google Shape;774;p28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75" name="Google Shape;775;p28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76" name="Google Shape;776;p28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777" name="Google Shape;777;p28"/>
          <p:cNvSpPr txBox="1">
            <a:spLocks noGrp="1"/>
          </p:cNvSpPr>
          <p:nvPr>
            <p:ph type="subTitle" idx="2"/>
          </p:nvPr>
        </p:nvSpPr>
        <p:spPr>
          <a:xfrm>
            <a:off x="1152000" y="2170300"/>
            <a:ext cx="5263200" cy="10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778" name="Google Shape;778;p28"/>
          <p:cNvSpPr>
            <a:spLocks noGrp="1"/>
          </p:cNvSpPr>
          <p:nvPr>
            <p:ph type="pic" idx="3"/>
          </p:nvPr>
        </p:nvSpPr>
        <p:spPr>
          <a:xfrm>
            <a:off x="7266367" y="1377967"/>
            <a:ext cx="4102000" cy="4102000"/>
          </a:xfrm>
          <a:prstGeom prst="ellipse">
            <a:avLst/>
          </a:prstGeom>
          <a:noFill/>
          <a:ln>
            <a:noFill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1025">
          <p15:clr>
            <a:srgbClr val="E46962"/>
          </p15:clr>
        </p15:guide>
        <p15:guide id="4" orient="horz" pos="1521">
          <p15:clr>
            <a:srgbClr val="E46962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e et image 5">
  <p:cSld name="Texte et image 5">
    <p:bg>
      <p:bgPr>
        <a:solidFill>
          <a:srgbClr val="A0AAB7"/>
        </a:solidFill>
        <a:effectLst/>
      </p:bgPr>
    </p:bg>
    <p:spTree>
      <p:nvGrpSpPr>
        <p:cNvPr id="1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29"/>
          <p:cNvSpPr/>
          <p:nvPr/>
        </p:nvSpPr>
        <p:spPr>
          <a:xfrm>
            <a:off x="0" y="0"/>
            <a:ext cx="6535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81" name="Google Shape;781;p29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5263200" cy="18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82" name="Google Shape;782;p29"/>
          <p:cNvSpPr txBox="1">
            <a:spLocks noGrp="1"/>
          </p:cNvSpPr>
          <p:nvPr>
            <p:ph type="body" idx="1"/>
          </p:nvPr>
        </p:nvSpPr>
        <p:spPr>
          <a:xfrm>
            <a:off x="1152000" y="3220400"/>
            <a:ext cx="5263200" cy="28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783" name="Google Shape;783;p29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784" name="Google Shape;784;p29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85" name="Google Shape;785;p29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786" name="Google Shape;786;p29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787" name="Google Shape;787;p29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88" name="Google Shape;788;p29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89" name="Google Shape;789;p29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0" name="Google Shape;790;p29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1" name="Google Shape;791;p29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2" name="Google Shape;792;p29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3" name="Google Shape;793;p29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4" name="Google Shape;794;p29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5" name="Google Shape;795;p29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6" name="Google Shape;796;p29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7" name="Google Shape;797;p29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8" name="Google Shape;798;p29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9" name="Google Shape;799;p29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0" name="Google Shape;800;p29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1" name="Google Shape;801;p29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2" name="Google Shape;802;p29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3" name="Google Shape;803;p29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4" name="Google Shape;804;p29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5" name="Google Shape;805;p29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6" name="Google Shape;806;p29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7" name="Google Shape;807;p29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8" name="Google Shape;808;p29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9" name="Google Shape;809;p29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0" name="Google Shape;810;p29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1" name="Google Shape;811;p29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2" name="Google Shape;812;p29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3" name="Google Shape;813;p29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4" name="Google Shape;814;p29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5" name="Google Shape;815;p29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6" name="Google Shape;816;p29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7" name="Google Shape;817;p29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8" name="Google Shape;818;p29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9" name="Google Shape;819;p29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0" name="Google Shape;820;p29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1" name="Google Shape;821;p29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2" name="Google Shape;822;p29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3" name="Google Shape;823;p29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4" name="Google Shape;824;p29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5" name="Google Shape;825;p29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6" name="Google Shape;826;p29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7" name="Google Shape;827;p29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8" name="Google Shape;828;p29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9" name="Google Shape;829;p29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30" name="Google Shape;830;p29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31" name="Google Shape;831;p29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832" name="Google Shape;832;p29"/>
          <p:cNvSpPr txBox="1">
            <a:spLocks noGrp="1"/>
          </p:cNvSpPr>
          <p:nvPr>
            <p:ph type="subTitle" idx="2"/>
          </p:nvPr>
        </p:nvSpPr>
        <p:spPr>
          <a:xfrm>
            <a:off x="1152000" y="2170300"/>
            <a:ext cx="5263200" cy="10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833" name="Google Shape;833;p29"/>
          <p:cNvSpPr>
            <a:spLocks noGrp="1"/>
          </p:cNvSpPr>
          <p:nvPr>
            <p:ph type="pic" idx="3"/>
          </p:nvPr>
        </p:nvSpPr>
        <p:spPr>
          <a:xfrm>
            <a:off x="7266367" y="1377967"/>
            <a:ext cx="4102000" cy="4102000"/>
          </a:xfrm>
          <a:prstGeom prst="ellipse">
            <a:avLst/>
          </a:prstGeom>
          <a:noFill/>
          <a:ln>
            <a:noFill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1025">
          <p15:clr>
            <a:srgbClr val="E46962"/>
          </p15:clr>
        </p15:guide>
        <p15:guide id="4" orient="horz" pos="1521">
          <p15:clr>
            <a:srgbClr val="E46962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et texte 5">
  <p:cSld name="Image et texte 5">
    <p:bg>
      <p:bgPr>
        <a:solidFill>
          <a:srgbClr val="EC9191"/>
        </a:solidFill>
        <a:effectLst/>
      </p:bgPr>
    </p:bg>
    <p:spTree>
      <p:nvGrpSpPr>
        <p:cNvPr id="1" name="Shape 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" name="Google Shape;835;p30"/>
          <p:cNvSpPr/>
          <p:nvPr/>
        </p:nvSpPr>
        <p:spPr>
          <a:xfrm>
            <a:off x="5169600" y="0"/>
            <a:ext cx="7029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836" name="Google Shape;836;p30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10526400" cy="119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837" name="Google Shape;837;p30"/>
          <p:cNvSpPr txBox="1">
            <a:spLocks noGrp="1"/>
          </p:cNvSpPr>
          <p:nvPr>
            <p:ph type="body" idx="1"/>
          </p:nvPr>
        </p:nvSpPr>
        <p:spPr>
          <a:xfrm>
            <a:off x="5640000" y="2688000"/>
            <a:ext cx="3019200" cy="283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838" name="Google Shape;838;p30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839" name="Google Shape;839;p30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40" name="Google Shape;840;p30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841" name="Google Shape;841;p30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842" name="Google Shape;842;p30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43" name="Google Shape;843;p30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44" name="Google Shape;844;p30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45" name="Google Shape;845;p30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46" name="Google Shape;846;p30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47" name="Google Shape;847;p30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48" name="Google Shape;848;p30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49" name="Google Shape;849;p30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0" name="Google Shape;850;p30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1" name="Google Shape;851;p30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2" name="Google Shape;852;p30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3" name="Google Shape;853;p30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4" name="Google Shape;854;p30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5" name="Google Shape;855;p30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6" name="Google Shape;856;p30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7" name="Google Shape;857;p30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8" name="Google Shape;858;p30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9" name="Google Shape;859;p30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0" name="Google Shape;860;p30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1" name="Google Shape;861;p30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2" name="Google Shape;862;p30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3" name="Google Shape;863;p30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4" name="Google Shape;864;p30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5" name="Google Shape;865;p30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6" name="Google Shape;866;p30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7" name="Google Shape;867;p30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8" name="Google Shape;868;p30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9" name="Google Shape;869;p30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0" name="Google Shape;870;p30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1" name="Google Shape;871;p30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2" name="Google Shape;872;p30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3" name="Google Shape;873;p30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4" name="Google Shape;874;p30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5" name="Google Shape;875;p30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6" name="Google Shape;876;p30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7" name="Google Shape;877;p30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8" name="Google Shape;878;p30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9" name="Google Shape;879;p30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80" name="Google Shape;880;p30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81" name="Google Shape;881;p30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82" name="Google Shape;882;p30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83" name="Google Shape;883;p30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84" name="Google Shape;884;p30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85" name="Google Shape;885;p30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86" name="Google Shape;886;p30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887" name="Google Shape;887;p30"/>
          <p:cNvSpPr txBox="1">
            <a:spLocks noGrp="1"/>
          </p:cNvSpPr>
          <p:nvPr>
            <p:ph type="subTitle" idx="2"/>
          </p:nvPr>
        </p:nvSpPr>
        <p:spPr>
          <a:xfrm>
            <a:off x="5640000" y="2001600"/>
            <a:ext cx="2888400" cy="6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Font typeface="Work Sans Medium"/>
              <a:buNone/>
              <a:defRPr sz="1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9pPr>
          </a:lstStyle>
          <a:p>
            <a:endParaRPr/>
          </a:p>
        </p:txBody>
      </p:sp>
      <p:sp>
        <p:nvSpPr>
          <p:cNvPr id="888" name="Google Shape;888;p30"/>
          <p:cNvSpPr>
            <a:spLocks noGrp="1"/>
          </p:cNvSpPr>
          <p:nvPr>
            <p:ph type="pic" idx="3"/>
          </p:nvPr>
        </p:nvSpPr>
        <p:spPr>
          <a:xfrm>
            <a:off x="1272000" y="2001600"/>
            <a:ext cx="3316800" cy="3316800"/>
          </a:xfrm>
          <a:prstGeom prst="ellipse">
            <a:avLst/>
          </a:prstGeom>
          <a:noFill/>
          <a:ln>
            <a:noFill/>
          </a:ln>
        </p:spPr>
      </p:sp>
      <p:cxnSp>
        <p:nvCxnSpPr>
          <p:cNvPr id="889" name="Google Shape;889;p30"/>
          <p:cNvCxnSpPr/>
          <p:nvPr/>
        </p:nvCxnSpPr>
        <p:spPr>
          <a:xfrm>
            <a:off x="5774400" y="2001600"/>
            <a:ext cx="276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0" name="Google Shape;890;p30"/>
          <p:cNvSpPr txBox="1">
            <a:spLocks noGrp="1"/>
          </p:cNvSpPr>
          <p:nvPr>
            <p:ph type="body" idx="4"/>
          </p:nvPr>
        </p:nvSpPr>
        <p:spPr>
          <a:xfrm>
            <a:off x="8662800" y="2688000"/>
            <a:ext cx="3019200" cy="283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891" name="Google Shape;891;p30"/>
          <p:cNvSpPr txBox="1">
            <a:spLocks noGrp="1"/>
          </p:cNvSpPr>
          <p:nvPr>
            <p:ph type="subTitle" idx="5"/>
          </p:nvPr>
        </p:nvSpPr>
        <p:spPr>
          <a:xfrm>
            <a:off x="8662800" y="2001600"/>
            <a:ext cx="2888400" cy="6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Font typeface="Work Sans Medium"/>
              <a:buNone/>
              <a:defRPr sz="1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None/>
              <a:defRPr/>
            </a:lvl9pPr>
          </a:lstStyle>
          <a:p>
            <a:endParaRPr/>
          </a:p>
        </p:txBody>
      </p:sp>
      <p:cxnSp>
        <p:nvCxnSpPr>
          <p:cNvPr id="892" name="Google Shape;892;p30"/>
          <p:cNvCxnSpPr/>
          <p:nvPr/>
        </p:nvCxnSpPr>
        <p:spPr>
          <a:xfrm>
            <a:off x="8783067" y="2001600"/>
            <a:ext cx="2794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1270">
          <p15:clr>
            <a:srgbClr val="E46962"/>
          </p15:clr>
        </p15:guide>
        <p15:guide id="4" pos="2665">
          <p15:clr>
            <a:srgbClr val="E46962"/>
          </p15:clr>
        </p15:guide>
        <p15:guide id="5" pos="5517">
          <p15:clr>
            <a:srgbClr val="E46962"/>
          </p15:clr>
        </p15:guide>
        <p15:guide id="6" pos="4091">
          <p15:clr>
            <a:srgbClr val="E46962"/>
          </p15:clr>
        </p15:guide>
        <p15:guide id="7" pos="4148">
          <p15:clr>
            <a:srgbClr val="E46962"/>
          </p15:clr>
        </p15:guide>
        <p15:guide id="8" pos="4034">
          <p15:clr>
            <a:srgbClr val="E46962"/>
          </p15:clr>
        </p15:guide>
        <p15:guide id="9" orient="horz" pos="946">
          <p15:clr>
            <a:srgbClr val="E46962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e et extrait">
  <p:cSld name="Texte et extrait">
    <p:bg>
      <p:bgPr>
        <a:solidFill>
          <a:srgbClr val="A9DAE9"/>
        </a:solidFill>
        <a:effectLst/>
      </p:bgPr>
    </p:bg>
    <p:spTree>
      <p:nvGrpSpPr>
        <p:cNvPr id="1" name="Shape 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4" name="Google Shape;894;p31"/>
          <p:cNvSpPr/>
          <p:nvPr/>
        </p:nvSpPr>
        <p:spPr>
          <a:xfrm>
            <a:off x="0" y="0"/>
            <a:ext cx="6535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95" name="Google Shape;895;p31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5263200" cy="18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896" name="Google Shape;896;p31"/>
          <p:cNvSpPr txBox="1">
            <a:spLocks noGrp="1"/>
          </p:cNvSpPr>
          <p:nvPr>
            <p:ph type="body" idx="1"/>
          </p:nvPr>
        </p:nvSpPr>
        <p:spPr>
          <a:xfrm>
            <a:off x="1152000" y="3220400"/>
            <a:ext cx="5263200" cy="28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897" name="Google Shape;897;p31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898" name="Google Shape;898;p31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99" name="Google Shape;899;p31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900" name="Google Shape;900;p31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901" name="Google Shape;901;p31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02" name="Google Shape;902;p31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03" name="Google Shape;903;p31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04" name="Google Shape;904;p31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05" name="Google Shape;905;p31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06" name="Google Shape;906;p31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07" name="Google Shape;907;p31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08" name="Google Shape;908;p31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09" name="Google Shape;909;p31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0" name="Google Shape;910;p31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1" name="Google Shape;911;p31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2" name="Google Shape;912;p31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3" name="Google Shape;913;p31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4" name="Google Shape;914;p31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5" name="Google Shape;915;p31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6" name="Google Shape;916;p31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7" name="Google Shape;917;p31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8" name="Google Shape;918;p31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9" name="Google Shape;919;p31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0" name="Google Shape;920;p31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1" name="Google Shape;921;p31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2" name="Google Shape;922;p31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3" name="Google Shape;923;p31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4" name="Google Shape;924;p31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5" name="Google Shape;925;p31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6" name="Google Shape;926;p31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7" name="Google Shape;927;p31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8" name="Google Shape;928;p31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9" name="Google Shape;929;p31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0" name="Google Shape;930;p31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1" name="Google Shape;931;p31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2" name="Google Shape;932;p31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3" name="Google Shape;933;p31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4" name="Google Shape;934;p31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5" name="Google Shape;935;p31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6" name="Google Shape;936;p31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7" name="Google Shape;937;p31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8" name="Google Shape;938;p31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9" name="Google Shape;939;p31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40" name="Google Shape;940;p31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41" name="Google Shape;941;p31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42" name="Google Shape;942;p31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43" name="Google Shape;943;p31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44" name="Google Shape;944;p31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45" name="Google Shape;945;p31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946" name="Google Shape;946;p31"/>
          <p:cNvSpPr txBox="1">
            <a:spLocks noGrp="1"/>
          </p:cNvSpPr>
          <p:nvPr>
            <p:ph type="subTitle" idx="2"/>
          </p:nvPr>
        </p:nvSpPr>
        <p:spPr>
          <a:xfrm>
            <a:off x="1152000" y="2170300"/>
            <a:ext cx="5263200" cy="10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1025">
          <p15:clr>
            <a:srgbClr val="E46962"/>
          </p15:clr>
        </p15:guide>
        <p15:guide id="4" orient="horz" pos="1521">
          <p15:clr>
            <a:srgbClr val="E46962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ide" type="blank">
  <p:cSld name="Vide">
    <p:spTree>
      <p:nvGrpSpPr>
        <p:cNvPr id="1" name="Shape 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8" name="Google Shape;948;p32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949" name="Google Shape;949;p32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0" name="Google Shape;950;p32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>
  <p:cSld name="Titre et contenu">
    <p:spTree>
      <p:nvGrpSpPr>
        <p:cNvPr id="1" name="Shape 9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" name="Google Shape;952;p33"/>
          <p:cNvSpPr txBox="1">
            <a:spLocks noGrp="1"/>
          </p:cNvSpPr>
          <p:nvPr>
            <p:ph type="title"/>
          </p:nvPr>
        </p:nvSpPr>
        <p:spPr>
          <a:xfrm>
            <a:off x="838200" y="224448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953" name="Google Shape;953;p3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55032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ct val="100000"/>
              <a:buChar char="•"/>
              <a:defRPr/>
            </a:lvl1pPr>
            <a:lvl2pPr marL="1219170" lvl="1" indent="-51645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500"/>
              <a:buChar char="•"/>
              <a:defRPr sz="2400" b="0"/>
            </a:lvl2pPr>
            <a:lvl3pPr marL="1828754" lvl="2" indent="-48258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/>
            </a:lvl3pPr>
            <a:lvl4pPr marL="2438339" lvl="3" indent="-46565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 sz="1867"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/>
            </a:lvl9pPr>
          </a:lstStyle>
          <a:p>
            <a:endParaRPr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x">
  <p:cSld name="Title Sli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4"/>
          <p:cNvSpPr txBox="1">
            <a:spLocks noGrp="1"/>
          </p:cNvSpPr>
          <p:nvPr>
            <p:ph type="title"/>
          </p:nvPr>
        </p:nvSpPr>
        <p:spPr>
          <a:xfrm>
            <a:off x="233280" y="529921"/>
            <a:ext cx="11735520" cy="313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4"/>
          <p:cNvSpPr txBox="1">
            <a:spLocks noGrp="1"/>
          </p:cNvSpPr>
          <p:nvPr>
            <p:ph type="subTitle" idx="1"/>
          </p:nvPr>
        </p:nvSpPr>
        <p:spPr>
          <a:xfrm>
            <a:off x="609600" y="1604640"/>
            <a:ext cx="1097232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128668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>
  <p:cSld name="Titre et contenu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5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34289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5" lvl="1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2" lvl="2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0" lvl="3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88" lvl="4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84" lvl="5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82" lvl="6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80" lvl="7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76" lvl="8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5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3" name="Google Shape;23;p25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25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536066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-tête de section" type="secHead">
  <p:cSld name="En-tête de section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28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395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592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79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5988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184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382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58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776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2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9" name="Google Shape;29;p28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0" name="Google Shape;30;p2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67269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ux contenus" type="twoObj">
  <p:cSld name="Deux contenus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29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2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34289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5" lvl="1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2" lvl="2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0" lvl="3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88" lvl="4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84" lvl="5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82" lvl="6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80" lvl="7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76" lvl="8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29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34289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5" lvl="1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2" lvl="2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0" lvl="3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88" lvl="4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84" lvl="5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82" lvl="6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80" lvl="7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76" lvl="8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9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6" name="Google Shape;36;p29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7" name="Google Shape;37;p2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34206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texte sur 1 colonne" type="tx">
  <p:cSld name="Titre et texte sur 1 colonne">
    <p:bg>
      <p:bgPr>
        <a:solidFill>
          <a:srgbClr val="F4F5F1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2"/>
          <p:cNvSpPr txBox="1">
            <a:spLocks noGrp="1"/>
          </p:cNvSpPr>
          <p:nvPr>
            <p:ph type="title"/>
          </p:nvPr>
        </p:nvSpPr>
        <p:spPr>
          <a:xfrm>
            <a:off x="1152000" y="291224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2"/>
          <p:cNvSpPr txBox="1">
            <a:spLocks noGrp="1"/>
          </p:cNvSpPr>
          <p:nvPr>
            <p:ph type="body" idx="1"/>
          </p:nvPr>
        </p:nvSpPr>
        <p:spPr>
          <a:xfrm>
            <a:off x="1152000" y="2001600"/>
            <a:ext cx="10526400" cy="42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•"/>
              <a:defRPr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2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59" name="Google Shape;59;p2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0" name="Google Shape;60;p2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pos="5517">
          <p15:clr>
            <a:srgbClr val="E46962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ison" type="twoTxTwoObj">
  <p:cSld name="Comparais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0"/>
          <p:cNvSpPr txBox="1"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30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198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395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592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79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5988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184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382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58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776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30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34289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5" lvl="1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2" lvl="2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0" lvl="3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88" lvl="4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84" lvl="5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82" lvl="6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80" lvl="7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76" lvl="8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198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395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592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79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5988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184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382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58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776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34289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5" lvl="1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2" lvl="2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0" lvl="3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88" lvl="4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84" lvl="5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82" lvl="6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80" lvl="7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76" lvl="8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30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5" name="Google Shape;45;p30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6" name="Google Shape;46;p30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358267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u avec légende" type="objTx">
  <p:cSld name="Contenu avec légen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1"/>
          <p:cNvSpPr txBox="1"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1"/>
          <p:cNvSpPr txBox="1">
            <a:spLocks noGrp="1"/>
          </p:cNvSpPr>
          <p:nvPr>
            <p:ph type="body" idx="1"/>
          </p:nvPr>
        </p:nvSpPr>
        <p:spPr>
          <a:xfrm>
            <a:off x="5183188" y="987427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43179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395" lvl="1" indent="-4063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592" lvl="2" indent="-3809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790" lvl="3" indent="-3555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5988" lvl="4" indent="-3555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184" lvl="5" indent="-3555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382" lvl="6" indent="-3555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580" lvl="7" indent="-3555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776" lvl="8" indent="-3555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0" name="Google Shape;50;p31"/>
          <p:cNvSpPr txBox="1">
            <a:spLocks noGrp="1"/>
          </p:cNvSpPr>
          <p:nvPr>
            <p:ph type="body" idx="2"/>
          </p:nvPr>
        </p:nvSpPr>
        <p:spPr>
          <a:xfrm>
            <a:off x="839790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395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592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79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5988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184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382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58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776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1" name="Google Shape;51;p3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2" name="Google Shape;52;p3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3" name="Google Shape;53;p3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6857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vec légende" type="picTx">
  <p:cSld name="Image avec légen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2"/>
          <p:cNvSpPr txBox="1"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32"/>
          <p:cNvSpPr>
            <a:spLocks noGrp="1"/>
          </p:cNvSpPr>
          <p:nvPr>
            <p:ph type="pic" idx="2"/>
          </p:nvPr>
        </p:nvSpPr>
        <p:spPr>
          <a:xfrm>
            <a:off x="5183188" y="987427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7" name="Google Shape;57;p32"/>
          <p:cNvSpPr txBox="1">
            <a:spLocks noGrp="1"/>
          </p:cNvSpPr>
          <p:nvPr>
            <p:ph type="body" idx="1"/>
          </p:nvPr>
        </p:nvSpPr>
        <p:spPr>
          <a:xfrm>
            <a:off x="839790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395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592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79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5988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184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382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58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776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3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9" name="Google Shape;59;p3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3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116472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vertical et texte" type="vertTitleAndTx">
  <p:cSld name="Titre vertical et texte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3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3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98" lvl="0" indent="-34289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95" lvl="1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592" lvl="2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90" lvl="3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988" lvl="4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184" lvl="5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82" lvl="6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80" lvl="7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776" lvl="8" indent="-34289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3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65" name="Google Shape;65;p33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66" name="Google Shape;66;p3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13789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Vide sans bas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66370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9029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8528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>
  <p:cSld name="Titre et contenu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8"/>
          <p:cNvSpPr txBox="1">
            <a:spLocks noGrp="1"/>
          </p:cNvSpPr>
          <p:nvPr>
            <p:ph type="title"/>
          </p:nvPr>
        </p:nvSpPr>
        <p:spPr>
          <a:xfrm>
            <a:off x="838200" y="224448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77519" algn="l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920"/>
              <a:buChar char="•"/>
              <a:defRPr/>
            </a:lvl1pPr>
            <a:lvl2pPr marL="914400" lvl="1" indent="-44196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360"/>
              <a:buChar char="•"/>
              <a:defRPr sz="2400" b="0"/>
            </a:lvl2pPr>
            <a:lvl3pPr marL="1371600" lvl="2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/>
            </a:lvl3pPr>
            <a:lvl4pPr marL="1828800" lvl="3" indent="-38861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520"/>
              <a:buChar char="•"/>
              <a:defRPr sz="1800"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098733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Vide sans bas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60869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x" preserve="1">
  <p:cSld name="Title Sli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4"/>
          <p:cNvSpPr txBox="1">
            <a:spLocks noGrp="1"/>
          </p:cNvSpPr>
          <p:nvPr>
            <p:ph type="title"/>
          </p:nvPr>
        </p:nvSpPr>
        <p:spPr>
          <a:xfrm>
            <a:off x="233280" y="529920"/>
            <a:ext cx="11735520" cy="313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4"/>
          <p:cNvSpPr txBox="1">
            <a:spLocks noGrp="1"/>
          </p:cNvSpPr>
          <p:nvPr>
            <p:ph type="subTitle" idx="1" hasCustomPrompt="1"/>
          </p:nvPr>
        </p:nvSpPr>
        <p:spPr>
          <a:xfrm>
            <a:off x="609600" y="1604640"/>
            <a:ext cx="1097232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fr-CA" dirty="0"/>
              <a:t>X</a:t>
            </a:r>
          </a:p>
          <a:p>
            <a:pPr lvl="4"/>
            <a:r>
              <a:rPr lang="fr-CA" dirty="0"/>
              <a:t>Y</a:t>
            </a:r>
          </a:p>
          <a:p>
            <a:pPr lvl="2"/>
            <a:r>
              <a:rPr lang="fr-CA" dirty="0"/>
              <a:t>Z</a:t>
            </a:r>
          </a:p>
          <a:p>
            <a:pPr lvl="3"/>
            <a:r>
              <a:rPr lang="fr-CA" dirty="0"/>
              <a:t>w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3981934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seulement" type="titleOnly">
  <p:cSld name="Titre seulement">
    <p:bg>
      <p:bgPr>
        <a:solidFill>
          <a:srgbClr val="F4F5F1"/>
        </a:solidFill>
        <a:effectLst/>
      </p:bgPr>
    </p:bg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3"/>
          <p:cNvSpPr txBox="1">
            <a:spLocks noGrp="1"/>
          </p:cNvSpPr>
          <p:nvPr>
            <p:ph type="title"/>
          </p:nvPr>
        </p:nvSpPr>
        <p:spPr>
          <a:xfrm>
            <a:off x="1152000" y="291224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3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64" name="Google Shape;64;p3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5" name="Google Shape;65;p3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pos="5517">
          <p15:clr>
            <a:srgbClr val="E46962"/>
          </p15:clr>
        </p15:guide>
        <p15:guide id="3" orient="horz" pos="138">
          <p15:clr>
            <a:srgbClr val="E46962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 preserve="1">
  <p:cSld name="Titre et contenu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5"/>
          <p:cNvSpPr txBox="1">
            <a:spLocks noGrp="1"/>
          </p:cNvSpPr>
          <p:nvPr>
            <p:ph type="title"/>
          </p:nvPr>
        </p:nvSpPr>
        <p:spPr>
          <a:xfrm>
            <a:off x="838200" y="224448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400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40000"/>
              <a:buChar char="•"/>
              <a:defRPr sz="2400" b="0"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400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40000"/>
              <a:buChar char="•"/>
              <a:defRPr sz="1800"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CA" dirty="0"/>
          </a:p>
          <a:p>
            <a:pPr lvl="1"/>
            <a:endParaRPr lang="fr-CA" dirty="0"/>
          </a:p>
          <a:p>
            <a:pPr lvl="2"/>
            <a:endParaRPr lang="fr-CA" dirty="0"/>
          </a:p>
          <a:p>
            <a:pPr lvl="3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65195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Image 9" descr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Texte du titre"/>
          <p:cNvSpPr txBox="1">
            <a:spLocks noGrp="1"/>
          </p:cNvSpPr>
          <p:nvPr>
            <p:ph type="title"/>
          </p:nvPr>
        </p:nvSpPr>
        <p:spPr>
          <a:xfrm>
            <a:off x="822960" y="810877"/>
            <a:ext cx="9144001" cy="3252162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 sz="6000">
                <a:solidFill>
                  <a:srgbClr val="FFFFFF"/>
                </a:solid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8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0" y="4218316"/>
            <a:ext cx="9144001" cy="1039486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FFFFFF"/>
                </a:solidFill>
              </a:defRPr>
            </a:lvl1pPr>
            <a:lvl2pPr>
              <a:defRPr sz="2400" b="0">
                <a:solidFill>
                  <a:srgbClr val="FFFFFF"/>
                </a:solidFill>
              </a:defRPr>
            </a:lvl2pPr>
            <a:lvl3pPr marL="0" indent="0">
              <a:buSzTx/>
              <a:buNone/>
              <a:defRPr sz="2400" b="0">
                <a:solidFill>
                  <a:srgbClr val="FFFFFF"/>
                </a:solidFill>
              </a:defRPr>
            </a:lvl3pPr>
            <a:lvl4pPr marL="0" indent="0">
              <a:buSzTx/>
              <a:buNone/>
              <a:defRPr sz="2400" b="0">
                <a:solidFill>
                  <a:srgbClr val="FFFFFF"/>
                </a:solidFill>
              </a:defRPr>
            </a:lvl4pPr>
            <a:lvl5pPr>
              <a:defRPr sz="2400" b="0">
                <a:solidFill>
                  <a:srgbClr val="FFFFFF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9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55385" y="6269943"/>
            <a:ext cx="182216" cy="17281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763642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Texte du titre"/>
          <p:cNvSpPr txBox="1">
            <a:spLocks noGrp="1"/>
          </p:cNvSpPr>
          <p:nvPr>
            <p:ph type="title"/>
          </p:nvPr>
        </p:nvSpPr>
        <p:spPr>
          <a:xfrm>
            <a:off x="822960" y="1618345"/>
            <a:ext cx="10515601" cy="1688870"/>
          </a:xfrm>
          <a:prstGeom prst="rect">
            <a:avLst/>
          </a:prstGeom>
        </p:spPr>
        <p:txBody>
          <a:bodyPr/>
          <a:lstStyle>
            <a:lvl1pPr>
              <a:defRPr sz="4200"/>
            </a:lvl1pPr>
          </a:lstStyle>
          <a:p>
            <a:r>
              <a:t>Texte du titre</a:t>
            </a:r>
          </a:p>
        </p:txBody>
      </p:sp>
      <p:sp>
        <p:nvSpPr>
          <p:cNvPr id="49" name="Connecteur droit 6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50" name="Image 7" descr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51" name="Connecteur droit 8"/>
          <p:cNvSpPr/>
          <p:nvPr/>
        </p:nvSpPr>
        <p:spPr>
          <a:xfrm>
            <a:off x="798969" y="3410051"/>
            <a:ext cx="1023342" cy="3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52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248558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image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60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6333392" y="-82584"/>
            <a:ext cx="5242560" cy="435133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800"/>
              </a:spcBef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1pPr>
            <a:lvl2pPr>
              <a:spcBef>
                <a:spcPts val="800"/>
              </a:spcBef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2pPr>
            <a:lvl3pPr marL="0" indent="0">
              <a:spcBef>
                <a:spcPts val="800"/>
              </a:spcBef>
              <a:buSzTx/>
              <a:buNone/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3pPr>
            <a:lvl4pPr marL="497620" indent="-267432">
              <a:spcBef>
                <a:spcPts val="800"/>
              </a:spcBef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4pPr>
            <a:lvl5pPr>
              <a:spcBef>
                <a:spcPts val="800"/>
              </a:spcBef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pic>
        <p:nvPicPr>
          <p:cNvPr id="61" name="Image 8" descr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Connecteur droit 9"/>
          <p:cNvSpPr/>
          <p:nvPr/>
        </p:nvSpPr>
        <p:spPr>
          <a:xfrm>
            <a:off x="6300654" y="4401906"/>
            <a:ext cx="1023340" cy="3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63" name="Espace réservé pour une image  13"/>
          <p:cNvSpPr>
            <a:spLocks noGrp="1"/>
          </p:cNvSpPr>
          <p:nvPr>
            <p:ph type="pic" idx="21"/>
          </p:nvPr>
        </p:nvSpPr>
        <p:spPr>
          <a:xfrm>
            <a:off x="0" y="-3"/>
            <a:ext cx="7086600" cy="687720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4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55385" y="6269943"/>
            <a:ext cx="182216" cy="17281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045786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7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73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4727273" y="1828800"/>
            <a:ext cx="6611288" cy="4351338"/>
          </a:xfrm>
          <a:prstGeom prst="rect">
            <a:avLst/>
          </a:prstGeom>
        </p:spPr>
        <p:txBody>
          <a:bodyPr/>
          <a:lstStyle>
            <a:lvl1pPr>
              <a:spcBef>
                <a:spcPts val="800"/>
              </a:spcBef>
              <a:tabLst>
                <a:tab pos="444500" algn="l"/>
              </a:tabLst>
              <a:defRPr sz="2600" b="0"/>
            </a:lvl1pPr>
            <a:lvl2pPr>
              <a:spcBef>
                <a:spcPts val="800"/>
              </a:spcBef>
              <a:tabLst>
                <a:tab pos="444500" algn="l"/>
              </a:tabLst>
              <a:defRPr sz="2600" b="0"/>
            </a:lvl2pPr>
            <a:lvl3pPr>
              <a:spcBef>
                <a:spcPts val="800"/>
              </a:spcBef>
              <a:tabLst>
                <a:tab pos="444500" algn="l"/>
              </a:tabLst>
              <a:defRPr sz="2600" b="0"/>
            </a:lvl3pPr>
            <a:lvl4pPr>
              <a:spcBef>
                <a:spcPts val="800"/>
              </a:spcBef>
              <a:tabLst>
                <a:tab pos="444500" algn="l"/>
              </a:tabLst>
              <a:defRPr sz="2600" b="0"/>
            </a:lvl4pPr>
            <a:lvl5pPr>
              <a:spcBef>
                <a:spcPts val="800"/>
              </a:spcBef>
              <a:tabLst>
                <a:tab pos="444500" algn="l"/>
              </a:tabLst>
              <a:defRPr sz="2600" b="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pic>
        <p:nvPicPr>
          <p:cNvPr id="74" name="Image 8" descr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75" name="Connecteur droit 9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76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55385" y="6269943"/>
            <a:ext cx="182216" cy="17281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520422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84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822960" y="1825625"/>
            <a:ext cx="5181602" cy="4351338"/>
          </a:xfrm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8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310715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93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822960" y="1825625"/>
            <a:ext cx="4114802" cy="435133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 marL="231070" indent="-231070">
              <a:defRPr sz="2000"/>
            </a:lvl3pPr>
            <a:lvl4pPr marL="487713" indent="-257525">
              <a:defRPr sz="2000"/>
            </a:lvl4pPr>
            <a:lvl5pPr>
              <a:defRPr sz="20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9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878336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 colonne image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102" name="Espace réservé pour une image  12"/>
          <p:cNvSpPr>
            <a:spLocks noGrp="1"/>
          </p:cNvSpPr>
          <p:nvPr>
            <p:ph type="pic" idx="21"/>
          </p:nvPr>
        </p:nvSpPr>
        <p:spPr>
          <a:xfrm>
            <a:off x="6362603" y="-1588"/>
            <a:ext cx="5829397" cy="68754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03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04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822960" y="1825625"/>
            <a:ext cx="5181602" cy="4351338"/>
          </a:xfrm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05" name="Connecteur droit 8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106" name="Image 9" descr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6"/>
          </a:xfrm>
          <a:prstGeom prst="rect">
            <a:avLst/>
          </a:prstGeom>
          <a:ln w="12700">
            <a:miter lim="400000"/>
          </a:ln>
        </p:spPr>
      </p:pic>
      <p:sp>
        <p:nvSpPr>
          <p:cNvPr id="107" name="Connecteur droit 10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08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882409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16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1" y="1825625"/>
            <a:ext cx="3235769" cy="4351338"/>
          </a:xfrm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17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606268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 colonne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25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1" y="4301654"/>
            <a:ext cx="2377440" cy="18753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26" name="Espace réservé pour une image  14"/>
          <p:cNvSpPr>
            <a:spLocks noGrp="1"/>
          </p:cNvSpPr>
          <p:nvPr>
            <p:ph type="pic" sz="quarter" idx="21"/>
          </p:nvPr>
        </p:nvSpPr>
        <p:spPr>
          <a:xfrm>
            <a:off x="838200" y="1789113"/>
            <a:ext cx="2377440" cy="23774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7" name="Espace réservé pour une image  14"/>
          <p:cNvSpPr>
            <a:spLocks noGrp="1"/>
          </p:cNvSpPr>
          <p:nvPr>
            <p:ph type="pic" sz="quarter" idx="22"/>
          </p:nvPr>
        </p:nvSpPr>
        <p:spPr>
          <a:xfrm>
            <a:off x="3535681" y="1789113"/>
            <a:ext cx="2377443" cy="23774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8" name="Espace réservé pour une image  14"/>
          <p:cNvSpPr>
            <a:spLocks noGrp="1"/>
          </p:cNvSpPr>
          <p:nvPr>
            <p:ph type="pic" sz="quarter" idx="23"/>
          </p:nvPr>
        </p:nvSpPr>
        <p:spPr>
          <a:xfrm>
            <a:off x="6248401" y="1789113"/>
            <a:ext cx="2377443" cy="23774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9" name="Espace réservé pour une image  14"/>
          <p:cNvSpPr>
            <a:spLocks noGrp="1"/>
          </p:cNvSpPr>
          <p:nvPr>
            <p:ph type="pic" sz="quarter" idx="24"/>
          </p:nvPr>
        </p:nvSpPr>
        <p:spPr>
          <a:xfrm>
            <a:off x="8961118" y="1789113"/>
            <a:ext cx="2377443" cy="23774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0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80295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avec mosaïque" type="title">
  <p:cSld name="Titre avec mosaïque">
    <p:bg>
      <p:bgPr>
        <a:solidFill>
          <a:schemeClr val="dk1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4"/>
          <p:cNvSpPr txBox="1">
            <a:spLocks noGrp="1"/>
          </p:cNvSpPr>
          <p:nvPr>
            <p:ph type="ctrTitle"/>
          </p:nvPr>
        </p:nvSpPr>
        <p:spPr>
          <a:xfrm>
            <a:off x="5640600" y="3812369"/>
            <a:ext cx="6038400" cy="886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None/>
              <a:defRPr sz="5067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68" name="Google Shape;68;p4"/>
          <p:cNvSpPr txBox="1">
            <a:spLocks noGrp="1"/>
          </p:cNvSpPr>
          <p:nvPr>
            <p:ph type="subTitle" idx="1"/>
          </p:nvPr>
        </p:nvSpPr>
        <p:spPr>
          <a:xfrm>
            <a:off x="5640600" y="4849633"/>
            <a:ext cx="6038400" cy="12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2267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69" name="Google Shape;69;p4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grpSp>
        <p:nvGrpSpPr>
          <p:cNvPr id="70" name="Google Shape;70;p4"/>
          <p:cNvGrpSpPr/>
          <p:nvPr/>
        </p:nvGrpSpPr>
        <p:grpSpPr>
          <a:xfrm>
            <a:off x="5779194" y="513505"/>
            <a:ext cx="1631813" cy="482591"/>
            <a:chOff x="249750" y="1780450"/>
            <a:chExt cx="7107200" cy="2090950"/>
          </a:xfrm>
        </p:grpSpPr>
        <p:sp>
          <p:nvSpPr>
            <p:cNvPr id="71" name="Google Shape;71;p4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3" name="Google Shape;73;p4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4" name="Google Shape;74;p4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6" name="Google Shape;76;p4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7" name="Google Shape;77;p4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8" name="Google Shape;78;p4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79" name="Google Shape;79;p4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0" name="Google Shape;80;p4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1" name="Google Shape;81;p4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2" name="Google Shape;82;p4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3" name="Google Shape;83;p4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4" name="Google Shape;84;p4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5" name="Google Shape;85;p4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6" name="Google Shape;86;p4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7" name="Google Shape;87;p4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8" name="Google Shape;88;p4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89" name="Google Shape;89;p4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0" name="Google Shape;90;p4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1" name="Google Shape;91;p4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2" name="Google Shape;92;p4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3" name="Google Shape;93;p4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4" name="Google Shape;94;p4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5" name="Google Shape;95;p4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6" name="Google Shape;96;p4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7" name="Google Shape;97;p4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8" name="Google Shape;98;p4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99" name="Google Shape;99;p4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0" name="Google Shape;100;p4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1" name="Google Shape;101;p4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2" name="Google Shape;102;p4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3" name="Google Shape;103;p4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4" name="Google Shape;104;p4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5" name="Google Shape;105;p4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6" name="Google Shape;106;p4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7" name="Google Shape;107;p4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8" name="Google Shape;108;p4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09" name="Google Shape;109;p4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10" name="Google Shape;110;p4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11" name="Google Shape;111;p4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12" name="Google Shape;112;p4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13" name="Google Shape;113;p4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14" name="Google Shape;114;p4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15" name="Google Shape;115;p4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116" name="Google Shape;116;p4"/>
          <p:cNvSpPr>
            <a:spLocks noGrp="1"/>
          </p:cNvSpPr>
          <p:nvPr>
            <p:ph type="pic" idx="2"/>
          </p:nvPr>
        </p:nvSpPr>
        <p:spPr>
          <a:xfrm>
            <a:off x="808800" y="1238400"/>
            <a:ext cx="4191200" cy="4670400"/>
          </a:xfrm>
          <a:prstGeom prst="rect">
            <a:avLst/>
          </a:prstGeom>
          <a:noFill/>
          <a:ln>
            <a:noFill/>
          </a:ln>
        </p:spPr>
      </p:sp>
      <p:cxnSp>
        <p:nvCxnSpPr>
          <p:cNvPr id="117" name="Google Shape;117;p4"/>
          <p:cNvCxnSpPr/>
          <p:nvPr/>
        </p:nvCxnSpPr>
        <p:spPr>
          <a:xfrm>
            <a:off x="5768467" y="1238400"/>
            <a:ext cx="5788800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665">
          <p15:clr>
            <a:srgbClr val="E46962"/>
          </p15:clr>
        </p15:guide>
        <p15:guide id="2" pos="5518">
          <p15:clr>
            <a:srgbClr val="E46962"/>
          </p15:clr>
        </p15:guide>
        <p15:guide id="3" orient="horz" pos="2291">
          <p15:clr>
            <a:srgbClr val="E46962"/>
          </p15:clr>
        </p15:guide>
        <p15:guide id="4" orient="horz" pos="2220">
          <p15:clr>
            <a:srgbClr val="E46962"/>
          </p15:clr>
        </p15:guide>
        <p15:guide id="5" orient="horz" pos="585">
          <p15:clr>
            <a:srgbClr val="E46962"/>
          </p15:clr>
        </p15:guide>
        <p15:guide id="6" orient="horz" pos="2792">
          <p15:clr>
            <a:srgbClr val="E46962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 colonnes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38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53438" y="2675820"/>
            <a:ext cx="1934310" cy="350114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255953" indent="-255953">
              <a:defRPr sz="1600"/>
            </a:lvl3pPr>
            <a:lvl4pPr marL="515449" indent="-285261">
              <a:defRPr sz="1600"/>
            </a:lvl4pPr>
            <a:lvl5pPr>
              <a:defRPr sz="16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39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918580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ités 1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47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2052079" y="1982253"/>
            <a:ext cx="1441869" cy="1114308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93108" indent="-193108">
              <a:defRPr sz="1300"/>
            </a:lvl3pPr>
            <a:lvl4pPr marL="445407" indent="-215219">
              <a:defRPr sz="1300"/>
            </a:lvl4pPr>
            <a:lvl5pPr>
              <a:defRPr sz="13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48" name="Espace réservé pour une image  15"/>
          <p:cNvSpPr>
            <a:spLocks noGrp="1"/>
          </p:cNvSpPr>
          <p:nvPr>
            <p:ph type="pic" sz="quarter" idx="21"/>
          </p:nvPr>
        </p:nvSpPr>
        <p:spPr>
          <a:xfrm>
            <a:off x="822960" y="1885700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49" name="Espace réservé pour une image  15"/>
          <p:cNvSpPr>
            <a:spLocks noGrp="1"/>
          </p:cNvSpPr>
          <p:nvPr>
            <p:ph type="pic" sz="quarter" idx="22"/>
          </p:nvPr>
        </p:nvSpPr>
        <p:spPr>
          <a:xfrm>
            <a:off x="3544894" y="1885700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0" name="Espace réservé pour une image  15"/>
          <p:cNvSpPr>
            <a:spLocks noGrp="1"/>
          </p:cNvSpPr>
          <p:nvPr>
            <p:ph type="pic" sz="quarter" idx="23"/>
          </p:nvPr>
        </p:nvSpPr>
        <p:spPr>
          <a:xfrm>
            <a:off x="6266829" y="1885700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1" name="Espace réservé pour une image  15"/>
          <p:cNvSpPr>
            <a:spLocks noGrp="1"/>
          </p:cNvSpPr>
          <p:nvPr>
            <p:ph type="pic" sz="quarter" idx="24"/>
          </p:nvPr>
        </p:nvSpPr>
        <p:spPr>
          <a:xfrm>
            <a:off x="8988762" y="1885700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2" name="Espace réservé pour une image  15"/>
          <p:cNvSpPr>
            <a:spLocks noGrp="1"/>
          </p:cNvSpPr>
          <p:nvPr>
            <p:ph type="pic" sz="quarter" idx="25"/>
          </p:nvPr>
        </p:nvSpPr>
        <p:spPr>
          <a:xfrm>
            <a:off x="822960" y="3225407"/>
            <a:ext cx="1114311" cy="111430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3" name="Espace réservé pour une image  15"/>
          <p:cNvSpPr>
            <a:spLocks noGrp="1"/>
          </p:cNvSpPr>
          <p:nvPr>
            <p:ph type="pic" sz="quarter" idx="26"/>
          </p:nvPr>
        </p:nvSpPr>
        <p:spPr>
          <a:xfrm>
            <a:off x="3544894" y="3225407"/>
            <a:ext cx="1114311" cy="111430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4" name="Espace réservé pour une image  15"/>
          <p:cNvSpPr>
            <a:spLocks noGrp="1"/>
          </p:cNvSpPr>
          <p:nvPr>
            <p:ph type="pic" sz="quarter" idx="27"/>
          </p:nvPr>
        </p:nvSpPr>
        <p:spPr>
          <a:xfrm>
            <a:off x="6266829" y="3225407"/>
            <a:ext cx="1114311" cy="111430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5" name="Espace réservé pour une image  15"/>
          <p:cNvSpPr>
            <a:spLocks noGrp="1"/>
          </p:cNvSpPr>
          <p:nvPr>
            <p:ph type="pic" sz="quarter" idx="28"/>
          </p:nvPr>
        </p:nvSpPr>
        <p:spPr>
          <a:xfrm>
            <a:off x="8988762" y="3225407"/>
            <a:ext cx="1114311" cy="111430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6" name="Espace réservé pour une image  15"/>
          <p:cNvSpPr>
            <a:spLocks noGrp="1"/>
          </p:cNvSpPr>
          <p:nvPr>
            <p:ph type="pic" sz="quarter" idx="29"/>
          </p:nvPr>
        </p:nvSpPr>
        <p:spPr>
          <a:xfrm>
            <a:off x="822960" y="4554482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7" name="Espace réservé pour une image  15"/>
          <p:cNvSpPr>
            <a:spLocks noGrp="1"/>
          </p:cNvSpPr>
          <p:nvPr>
            <p:ph type="pic" sz="quarter" idx="30"/>
          </p:nvPr>
        </p:nvSpPr>
        <p:spPr>
          <a:xfrm>
            <a:off x="3544894" y="4554482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8" name="Espace réservé pour une image  15"/>
          <p:cNvSpPr>
            <a:spLocks noGrp="1"/>
          </p:cNvSpPr>
          <p:nvPr>
            <p:ph type="pic" sz="quarter" idx="31"/>
          </p:nvPr>
        </p:nvSpPr>
        <p:spPr>
          <a:xfrm>
            <a:off x="6266829" y="4554482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9" name="Espace réservé pour une image  15"/>
          <p:cNvSpPr>
            <a:spLocks noGrp="1"/>
          </p:cNvSpPr>
          <p:nvPr>
            <p:ph type="pic" sz="quarter" idx="32"/>
          </p:nvPr>
        </p:nvSpPr>
        <p:spPr>
          <a:xfrm>
            <a:off x="8988762" y="4554482"/>
            <a:ext cx="1114311" cy="11143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0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698149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# comite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68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1968369" y="2339168"/>
            <a:ext cx="2901340" cy="1257743"/>
          </a:xfrm>
          <a:prstGeom prst="rect">
            <a:avLst/>
          </a:prstGeom>
        </p:spPr>
        <p:txBody>
          <a:bodyPr anchor="b"/>
          <a:lstStyle>
            <a:lvl1pPr algn="ctr">
              <a:defRPr sz="5000">
                <a:solidFill>
                  <a:schemeClr val="accent1"/>
                </a:solidFill>
              </a:defRPr>
            </a:lvl1pPr>
            <a:lvl2pPr algn="ctr">
              <a:defRPr sz="5000">
                <a:solidFill>
                  <a:schemeClr val="accent1"/>
                </a:solidFill>
              </a:defRPr>
            </a:lvl2pPr>
            <a:lvl3pPr marL="0" indent="0" algn="ctr">
              <a:buSzTx/>
              <a:buNone/>
              <a:defRPr sz="5000">
                <a:solidFill>
                  <a:schemeClr val="accent1"/>
                </a:solidFill>
              </a:defRPr>
            </a:lvl3pPr>
            <a:lvl4pPr marL="874005" indent="-643818" algn="ctr">
              <a:defRPr sz="5000">
                <a:solidFill>
                  <a:schemeClr val="accent1"/>
                </a:solidFill>
              </a:defRPr>
            </a:lvl4pPr>
            <a:lvl5pPr algn="ctr">
              <a:defRPr sz="5000"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69" name="Ellipse 4"/>
          <p:cNvSpPr/>
          <p:nvPr/>
        </p:nvSpPr>
        <p:spPr>
          <a:xfrm>
            <a:off x="1873703" y="2191267"/>
            <a:ext cx="3090677" cy="3093115"/>
          </a:xfrm>
          <a:prstGeom prst="ellips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 anchor="ctr"/>
          <a:lstStyle/>
          <a:p>
            <a:pPr algn="ctr" latinLnBrk="0" hangingPunct="0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Connecteur droit 31"/>
          <p:cNvSpPr/>
          <p:nvPr/>
        </p:nvSpPr>
        <p:spPr>
          <a:xfrm>
            <a:off x="8266189" y="3679919"/>
            <a:ext cx="1023340" cy="3"/>
          </a:xfrm>
          <a:prstGeom prst="line">
            <a:avLst/>
          </a:prstGeom>
          <a:ln w="635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71" name="Ellipse 32"/>
          <p:cNvSpPr/>
          <p:nvPr/>
        </p:nvSpPr>
        <p:spPr>
          <a:xfrm>
            <a:off x="7231177" y="2191267"/>
            <a:ext cx="3090677" cy="3093115"/>
          </a:xfrm>
          <a:prstGeom prst="ellips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 anchor="ctr"/>
          <a:lstStyle/>
          <a:p>
            <a:pPr algn="ctr" latinLnBrk="0" hangingPunct="0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Ellipse 28"/>
          <p:cNvSpPr/>
          <p:nvPr/>
        </p:nvSpPr>
        <p:spPr>
          <a:xfrm>
            <a:off x="4594616" y="2191266"/>
            <a:ext cx="3090677" cy="3090677"/>
          </a:xfrm>
          <a:prstGeom prst="ellips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 anchor="ctr"/>
          <a:lstStyle/>
          <a:p>
            <a:pPr algn="ctr" latinLnBrk="0" hangingPunct="0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Connecteur droit 27"/>
          <p:cNvSpPr/>
          <p:nvPr/>
        </p:nvSpPr>
        <p:spPr>
          <a:xfrm>
            <a:off x="5533616" y="3679919"/>
            <a:ext cx="1023340" cy="3"/>
          </a:xfrm>
          <a:prstGeom prst="line">
            <a:avLst/>
          </a:prstGeom>
          <a:ln w="635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74" name="Connecteur droit 15"/>
          <p:cNvSpPr/>
          <p:nvPr/>
        </p:nvSpPr>
        <p:spPr>
          <a:xfrm>
            <a:off x="2907370" y="3679919"/>
            <a:ext cx="1023340" cy="3"/>
          </a:xfrm>
          <a:prstGeom prst="line">
            <a:avLst/>
          </a:prstGeom>
          <a:ln w="635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7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779462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# Comite 10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83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043938" y="1702735"/>
            <a:ext cx="1835363" cy="953689"/>
          </a:xfrm>
          <a:prstGeom prst="rect">
            <a:avLst/>
          </a:prstGeom>
        </p:spPr>
        <p:txBody>
          <a:bodyPr anchor="b"/>
          <a:lstStyle>
            <a:lvl1pPr algn="ctr">
              <a:defRPr sz="5000">
                <a:solidFill>
                  <a:schemeClr val="accent1"/>
                </a:solidFill>
              </a:defRPr>
            </a:lvl1pPr>
            <a:lvl2pPr algn="ctr">
              <a:defRPr sz="5000">
                <a:solidFill>
                  <a:schemeClr val="accent1"/>
                </a:solidFill>
              </a:defRPr>
            </a:lvl2pPr>
            <a:lvl3pPr marL="0" indent="0" algn="ctr">
              <a:buSzTx/>
              <a:buNone/>
              <a:defRPr sz="5000">
                <a:solidFill>
                  <a:schemeClr val="accent1"/>
                </a:solidFill>
              </a:defRPr>
            </a:lvl3pPr>
            <a:lvl4pPr marL="874005" indent="-643818" algn="ctr">
              <a:defRPr sz="5000">
                <a:solidFill>
                  <a:schemeClr val="accent1"/>
                </a:solidFill>
              </a:defRPr>
            </a:lvl4pPr>
            <a:lvl5pPr algn="ctr">
              <a:defRPr sz="5000">
                <a:solidFill>
                  <a:schemeClr val="accent1"/>
                </a:solidFill>
              </a:defRPr>
            </a:lvl5pPr>
          </a:lstStyle>
          <a:p>
            <a:r>
              <a:t>###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8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170110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arre comite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" name="Image 15" descr="Imag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867" y="1786269"/>
            <a:ext cx="11361133" cy="4806737"/>
          </a:xfrm>
          <a:prstGeom prst="rect">
            <a:avLst/>
          </a:prstGeom>
          <a:ln w="12700">
            <a:miter lim="400000"/>
          </a:ln>
        </p:spPr>
      </p:pic>
      <p:sp>
        <p:nvSpPr>
          <p:cNvPr id="19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93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908018" y="2820959"/>
            <a:ext cx="2292382" cy="187862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5000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defRPr sz="5000">
                <a:solidFill>
                  <a:schemeClr val="accent1"/>
                </a:solidFill>
              </a:defRPr>
            </a:lvl2pPr>
            <a:lvl3pPr marL="799856" indent="-799856">
              <a:spcBef>
                <a:spcPts val="0"/>
              </a:spcBef>
              <a:defRPr sz="5000">
                <a:solidFill>
                  <a:schemeClr val="accent1"/>
                </a:solidFill>
              </a:defRPr>
            </a:lvl3pPr>
            <a:lvl4pPr marL="954483" indent="-724296">
              <a:spcBef>
                <a:spcPts val="0"/>
              </a:spcBef>
              <a:defRPr sz="50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5000">
                <a:solidFill>
                  <a:schemeClr val="accent1"/>
                </a:solidFill>
              </a:defRPr>
            </a:lvl5pPr>
          </a:lstStyle>
          <a:p>
            <a:r>
              <a:t>000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94" name="Connecteur droit 6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195" name="Image 7" descr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196" name="Connecteur droit 8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197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05473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arre comite mau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Image 10" descr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05" name="Image 15" descr="Imag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259" y="1786269"/>
            <a:ext cx="11324347" cy="4806737"/>
          </a:xfrm>
          <a:prstGeom prst="rect">
            <a:avLst/>
          </a:prstGeom>
          <a:ln w="12700">
            <a:miter lim="400000"/>
          </a:ln>
        </p:spPr>
      </p:pic>
      <p:sp>
        <p:nvSpPr>
          <p:cNvPr id="206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207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908018" y="2820959"/>
            <a:ext cx="2292382" cy="187862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5000"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defRPr sz="5000">
                <a:solidFill>
                  <a:schemeClr val="accent2"/>
                </a:solidFill>
              </a:defRPr>
            </a:lvl2pPr>
            <a:lvl3pPr marL="799856" indent="-799856">
              <a:spcBef>
                <a:spcPts val="0"/>
              </a:spcBef>
              <a:defRPr sz="5000">
                <a:solidFill>
                  <a:schemeClr val="accent2"/>
                </a:solidFill>
              </a:defRPr>
            </a:lvl3pPr>
            <a:lvl4pPr marL="954483" indent="-724296">
              <a:spcBef>
                <a:spcPts val="0"/>
              </a:spcBef>
              <a:defRPr sz="5000"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defRPr sz="5000">
                <a:solidFill>
                  <a:schemeClr val="accent2"/>
                </a:solidFill>
              </a:defRPr>
            </a:lvl5pPr>
          </a:lstStyle>
          <a:p>
            <a:r>
              <a:t>000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08" name="Connecteur droit 6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209" name="Image 7" descr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924" y="6217846"/>
            <a:ext cx="927303" cy="377286"/>
          </a:xfrm>
          <a:prstGeom prst="rect">
            <a:avLst/>
          </a:prstGeom>
          <a:ln w="12700">
            <a:miter lim="400000"/>
          </a:ln>
        </p:spPr>
      </p:pic>
      <p:sp>
        <p:nvSpPr>
          <p:cNvPr id="210" name="Connecteur droit 8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11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078686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vestiss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219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0" y="1828799"/>
            <a:ext cx="10515601" cy="12440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 marL="0" indent="0">
              <a:buSzTx/>
              <a:buNone/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220" name="Espace réservé pour une image  9"/>
          <p:cNvSpPr>
            <a:spLocks noGrp="1"/>
          </p:cNvSpPr>
          <p:nvPr>
            <p:ph type="pic" sz="quarter" idx="21"/>
          </p:nvPr>
        </p:nvSpPr>
        <p:spPr>
          <a:xfrm>
            <a:off x="798514" y="3147803"/>
            <a:ext cx="6350750" cy="256307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21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568180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llaboration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229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0" y="1825625"/>
            <a:ext cx="4114802" cy="75394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</a:defRPr>
            </a:lvl1pPr>
            <a:lvl2pPr>
              <a:defRPr sz="3000">
                <a:solidFill>
                  <a:schemeClr val="accent1"/>
                </a:solidFill>
              </a:defRPr>
            </a:lvl2pPr>
            <a:lvl3pPr marL="346605" indent="-346605">
              <a:defRPr sz="3000">
                <a:solidFill>
                  <a:schemeClr val="accent1"/>
                </a:solidFill>
              </a:defRPr>
            </a:lvl3pPr>
            <a:lvl4pPr marL="616478" indent="-386291">
              <a:defRPr sz="3000">
                <a:solidFill>
                  <a:schemeClr val="accent1"/>
                </a:solidFill>
              </a:defRPr>
            </a:lvl4pPr>
            <a:lvl5pPr>
              <a:defRPr sz="3000"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230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903301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g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238" name="Rectangle 13"/>
          <p:cNvSpPr/>
          <p:nvPr/>
        </p:nvSpPr>
        <p:spPr>
          <a:xfrm>
            <a:off x="798969" y="1600417"/>
            <a:ext cx="3109486" cy="4453102"/>
          </a:xfrm>
          <a:prstGeom prst="rect">
            <a:avLst/>
          </a:prstGeom>
          <a:solidFill>
            <a:schemeClr val="accent2">
              <a:alpha val="60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latinLnBrk="0" hangingPunct="0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9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240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941069" y="1703257"/>
            <a:ext cx="2672802" cy="2987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241" name="Connecteur droit 6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242" name="Image 7" descr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243" name="Connecteur droit 8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44" name="Connecteur droit 20"/>
          <p:cNvSpPr/>
          <p:nvPr/>
        </p:nvSpPr>
        <p:spPr>
          <a:xfrm>
            <a:off x="4040318" y="2002001"/>
            <a:ext cx="7458466" cy="5"/>
          </a:xfrm>
          <a:prstGeom prst="line">
            <a:avLst/>
          </a:prstGeom>
          <a:ln w="508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4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602459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artenaires logo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253" name="Connecteur droit 7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54" name="Espace réservé pour une image  8"/>
          <p:cNvSpPr>
            <a:spLocks noGrp="1"/>
          </p:cNvSpPr>
          <p:nvPr>
            <p:ph type="pic" idx="21"/>
          </p:nvPr>
        </p:nvSpPr>
        <p:spPr>
          <a:xfrm>
            <a:off x="822325" y="1886555"/>
            <a:ext cx="10660065" cy="427361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5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55385" y="6269943"/>
            <a:ext cx="182216" cy="17281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733625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 type="secHead">
  <p:cSld name="Section header 1">
    <p:bg>
      <p:bgPr>
        <a:solidFill>
          <a:srgbClr val="A9DAE9"/>
        </a:solidFill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5"/>
          <p:cNvSpPr txBox="1">
            <a:spLocks noGrp="1"/>
          </p:cNvSpPr>
          <p:nvPr>
            <p:ph type="title"/>
          </p:nvPr>
        </p:nvSpPr>
        <p:spPr>
          <a:xfrm>
            <a:off x="1152000" y="1101767"/>
            <a:ext cx="5964800" cy="25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300"/>
              <a:buFont typeface="Work Sans Medium"/>
              <a:buNone/>
              <a:defRPr sz="4400">
                <a:latin typeface="Work Sans Medium"/>
                <a:ea typeface="Work Sans Medium"/>
                <a:cs typeface="Work Sans Medium"/>
                <a:sym typeface="Work Sans Medium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20" name="Google Shape;120;p5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sp>
        <p:nvSpPr>
          <p:cNvPr id="121" name="Google Shape;121;p5"/>
          <p:cNvSpPr txBox="1">
            <a:spLocks noGrp="1"/>
          </p:cNvSpPr>
          <p:nvPr>
            <p:ph type="subTitle" idx="1"/>
          </p:nvPr>
        </p:nvSpPr>
        <p:spPr>
          <a:xfrm>
            <a:off x="1152000" y="3673367"/>
            <a:ext cx="5964800" cy="12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2" name="Google Shape;122;p5"/>
          <p:cNvSpPr>
            <a:spLocks noGrp="1"/>
          </p:cNvSpPr>
          <p:nvPr>
            <p:ph type="pic" idx="2"/>
          </p:nvPr>
        </p:nvSpPr>
        <p:spPr>
          <a:xfrm>
            <a:off x="7439533" y="1470533"/>
            <a:ext cx="3796400" cy="3923600"/>
          </a:xfrm>
          <a:prstGeom prst="rect">
            <a:avLst/>
          </a:prstGeom>
          <a:noFill/>
          <a:ln>
            <a:noFill/>
          </a:ln>
        </p:spPr>
      </p:sp>
      <p:cxnSp>
        <p:nvCxnSpPr>
          <p:cNvPr id="123" name="Google Shape;123;p5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735">
          <p15:clr>
            <a:srgbClr val="E46962"/>
          </p15:clr>
        </p15:guide>
        <p15:guide id="3" orient="horz" pos="521">
          <p15:clr>
            <a:srgbClr val="E46962"/>
          </p15:clr>
        </p15:guide>
        <p15:guide id="4" pos="3362">
          <p15:clr>
            <a:srgbClr val="E46962"/>
          </p15:clr>
        </p15:guide>
        <p15:guide id="5" orient="horz" pos="113">
          <p15:clr>
            <a:srgbClr val="E46962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263" name="Connecteur droit 4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264" name="Image 5" descr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26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983297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>
  <p:cSld name="1_Titre et contenu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3" name="Google Shape;2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24" name="Google Shape;2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66996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uk-UA" smtClean="0">
                <a:solidFill>
                  <a:srgbClr val="82CFBE"/>
                </a:solidFill>
              </a:rPr>
              <a:pPr/>
              <a:t>‹#›</a:t>
            </a:fld>
            <a:endParaRPr lang="uk-UA"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13016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>
  <p:cSld name="Titre et contenu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8"/>
          <p:cNvSpPr txBox="1">
            <a:spLocks noGrp="1"/>
          </p:cNvSpPr>
          <p:nvPr>
            <p:ph type="title"/>
          </p:nvPr>
        </p:nvSpPr>
        <p:spPr>
          <a:xfrm>
            <a:off x="838200" y="224448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77519" algn="l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920"/>
              <a:buChar char="•"/>
              <a:defRPr/>
            </a:lvl1pPr>
            <a:lvl2pPr marL="914400" lvl="1" indent="-44196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360"/>
              <a:buChar char="•"/>
              <a:defRPr sz="2400" b="0"/>
            </a:lvl2pPr>
            <a:lvl3pPr marL="1371600" lvl="2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/>
            </a:lvl3pPr>
            <a:lvl4pPr marL="1828800" lvl="3" indent="-38861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520"/>
              <a:buChar char="•"/>
              <a:defRPr sz="1800"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/>
            </a:lvl9pPr>
          </a:lstStyle>
          <a:p>
            <a:endParaRPr dirty="0"/>
          </a:p>
        </p:txBody>
      </p:sp>
    </p:spTree>
    <p:extLst/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7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73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4727273" y="1828800"/>
            <a:ext cx="6611288" cy="4351338"/>
          </a:xfrm>
          <a:prstGeom prst="rect">
            <a:avLst/>
          </a:prstGeom>
        </p:spPr>
        <p:txBody>
          <a:bodyPr/>
          <a:lstStyle>
            <a:lvl1pPr>
              <a:spcBef>
                <a:spcPts val="800"/>
              </a:spcBef>
              <a:tabLst>
                <a:tab pos="444500" algn="l"/>
              </a:tabLst>
              <a:defRPr sz="2600" b="0"/>
            </a:lvl1pPr>
            <a:lvl2pPr>
              <a:spcBef>
                <a:spcPts val="800"/>
              </a:spcBef>
              <a:tabLst>
                <a:tab pos="444500" algn="l"/>
              </a:tabLst>
              <a:defRPr sz="2600" b="0"/>
            </a:lvl2pPr>
            <a:lvl3pPr>
              <a:spcBef>
                <a:spcPts val="800"/>
              </a:spcBef>
              <a:tabLst>
                <a:tab pos="444500" algn="l"/>
              </a:tabLst>
              <a:defRPr sz="2600" b="0"/>
            </a:lvl3pPr>
            <a:lvl4pPr>
              <a:spcBef>
                <a:spcPts val="800"/>
              </a:spcBef>
              <a:tabLst>
                <a:tab pos="444500" algn="l"/>
              </a:tabLst>
              <a:defRPr sz="2600" b="0"/>
            </a:lvl4pPr>
            <a:lvl5pPr>
              <a:spcBef>
                <a:spcPts val="800"/>
              </a:spcBef>
              <a:tabLst>
                <a:tab pos="444500" algn="l"/>
              </a:tabLst>
              <a:defRPr sz="2600" b="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pic>
        <p:nvPicPr>
          <p:cNvPr id="74" name="Image 8" descr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75" name="Connecteur droit 9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6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55385" y="6269943"/>
            <a:ext cx="182216" cy="17281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11.png">
            <a:extLst>
              <a:ext uri="{FF2B5EF4-FFF2-40B4-BE49-F238E27FC236}">
                <a16:creationId xmlns="" xmlns:a16="http://schemas.microsoft.com/office/drawing/2014/main" id="{E67D27F6-8EB7-4662-B53F-16E3A6D02EE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hqprint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909"/>
            <a:ext cx="12191999" cy="6856091"/>
          </a:xfrm>
          <a:prstGeom prst="rect">
            <a:avLst/>
          </a:prstGeom>
          <a:ln w="12700">
            <a:miter lim="400000"/>
          </a:ln>
        </p:spPr>
      </p:pic>
      <p:sp>
        <p:nvSpPr>
          <p:cNvPr id="78" name="Forme libre : forme 77">
            <a:extLst>
              <a:ext uri="{FF2B5EF4-FFF2-40B4-BE49-F238E27FC236}">
                <a16:creationId xmlns="" xmlns:a16="http://schemas.microsoft.com/office/drawing/2014/main" id="{4D700A3E-3C81-4048-ADAF-B7A927B204EF}"/>
              </a:ext>
            </a:extLst>
          </p:cNvPr>
          <p:cNvSpPr/>
          <p:nvPr userDrawn="1"/>
        </p:nvSpPr>
        <p:spPr>
          <a:xfrm>
            <a:off x="0" y="-3"/>
            <a:ext cx="10712168" cy="6858002"/>
          </a:xfrm>
          <a:custGeom>
            <a:avLst/>
            <a:gdLst>
              <a:gd name="connsiteX0" fmla="*/ 4916 w 17662524"/>
              <a:gd name="connsiteY0" fmla="*/ 0 h 11307766"/>
              <a:gd name="connsiteX1" fmla="*/ 17662524 w 17662524"/>
              <a:gd name="connsiteY1" fmla="*/ 0 h 11307766"/>
              <a:gd name="connsiteX2" fmla="*/ 4572187 w 17662524"/>
              <a:gd name="connsiteY2" fmla="*/ 11307765 h 11307766"/>
              <a:gd name="connsiteX3" fmla="*/ 4586902 w 17662524"/>
              <a:gd name="connsiteY3" fmla="*/ 11286301 h 11307766"/>
              <a:gd name="connsiteX4" fmla="*/ 4495078 w 17662524"/>
              <a:gd name="connsiteY4" fmla="*/ 11286301 h 11307766"/>
              <a:gd name="connsiteX5" fmla="*/ 4495078 w 17662524"/>
              <a:gd name="connsiteY5" fmla="*/ 11307766 h 11307766"/>
              <a:gd name="connsiteX6" fmla="*/ 0 w 17662524"/>
              <a:gd name="connsiteY6" fmla="*/ 11307766 h 11307766"/>
              <a:gd name="connsiteX7" fmla="*/ 0 w 17662524"/>
              <a:gd name="connsiteY7" fmla="*/ 10767403 h 11307766"/>
              <a:gd name="connsiteX8" fmla="*/ 4916 w 17662524"/>
              <a:gd name="connsiteY8" fmla="*/ 10767403 h 11307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62524" h="11307766">
                <a:moveTo>
                  <a:pt x="4916" y="0"/>
                </a:moveTo>
                <a:lnTo>
                  <a:pt x="17662524" y="0"/>
                </a:lnTo>
                <a:lnTo>
                  <a:pt x="4572187" y="11307765"/>
                </a:lnTo>
                <a:lnTo>
                  <a:pt x="4586902" y="11286301"/>
                </a:lnTo>
                <a:lnTo>
                  <a:pt x="4495078" y="11286301"/>
                </a:lnTo>
                <a:lnTo>
                  <a:pt x="4495078" y="11307766"/>
                </a:lnTo>
                <a:lnTo>
                  <a:pt x="0" y="11307766"/>
                </a:lnTo>
                <a:lnTo>
                  <a:pt x="0" y="10767403"/>
                </a:lnTo>
                <a:lnTo>
                  <a:pt x="4916" y="107674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5416" tIns="27707" rIns="55416" bIns="27707" rtlCol="0" anchor="ctr"/>
          <a:lstStyle/>
          <a:p>
            <a:pPr algn="ctr"/>
            <a:endParaRPr lang="en-US" sz="1092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2733" y="2990234"/>
            <a:ext cx="3841592" cy="1182147"/>
          </a:xfrm>
        </p:spPr>
        <p:txBody>
          <a:bodyPr lIns="0" tIns="0" rIns="0" bIns="0" anchor="b" anchorCtr="0">
            <a:noAutofit/>
          </a:bodyPr>
          <a:lstStyle>
            <a:lvl1pPr algn="l">
              <a:defRPr sz="4003" b="1" cap="all" spc="12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CA" noProof="0" dirty="0"/>
              <a:t>Titre</a:t>
            </a:r>
          </a:p>
        </p:txBody>
      </p:sp>
      <p:sp>
        <p:nvSpPr>
          <p:cNvPr id="12" name="Espace réservé de la date 11"/>
          <p:cNvSpPr>
            <a:spLocks noGrp="1"/>
          </p:cNvSpPr>
          <p:nvPr>
            <p:ph type="dt" sz="half" idx="10"/>
          </p:nvPr>
        </p:nvSpPr>
        <p:spPr>
          <a:xfrm>
            <a:off x="642733" y="5014992"/>
            <a:ext cx="3841592" cy="2248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13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90000"/>
              </a:lnSpc>
            </a:pPr>
            <a:endParaRPr lang="fr-CA" dirty="0">
              <a:solidFill>
                <a:srgbClr val="FFFFFF"/>
              </a:solidFill>
            </a:endParaRP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3" y="4305776"/>
            <a:ext cx="3841592" cy="458708"/>
          </a:xfrm>
        </p:spPr>
        <p:txBody>
          <a:bodyPr/>
          <a:lstStyle>
            <a:lvl1pPr>
              <a:spcBef>
                <a:spcPts val="0"/>
              </a:spcBef>
              <a:defRPr sz="169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fr-CA" dirty="0"/>
          </a:p>
        </p:txBody>
      </p:sp>
      <p:pic>
        <p:nvPicPr>
          <p:cNvPr id="33" name="image8.pdf">
            <a:extLst>
              <a:ext uri="{FF2B5EF4-FFF2-40B4-BE49-F238E27FC236}">
                <a16:creationId xmlns="" xmlns:a16="http://schemas.microsoft.com/office/drawing/2014/main" id="{6CCD0D51-5671-416D-8A85-677D0F8B2DB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084" y="1154111"/>
            <a:ext cx="1872656" cy="760476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6" name="Groupe 75">
            <a:extLst>
              <a:ext uri="{FF2B5EF4-FFF2-40B4-BE49-F238E27FC236}">
                <a16:creationId xmlns="" xmlns:a16="http://schemas.microsoft.com/office/drawing/2014/main" id="{FB29DC91-10A3-49F0-A16F-8172000C5749}"/>
              </a:ext>
            </a:extLst>
          </p:cNvPr>
          <p:cNvGrpSpPr/>
          <p:nvPr userDrawn="1"/>
        </p:nvGrpSpPr>
        <p:grpSpPr>
          <a:xfrm>
            <a:off x="2726226" y="-28359"/>
            <a:ext cx="8031895" cy="6922682"/>
            <a:chOff x="2358736" y="-46759"/>
            <a:chExt cx="13243214" cy="11414414"/>
          </a:xfrm>
        </p:grpSpPr>
        <p:cxnSp>
          <p:nvCxnSpPr>
            <p:cNvPr id="57" name="Connecteur droit 56">
              <a:extLst>
                <a:ext uri="{FF2B5EF4-FFF2-40B4-BE49-F238E27FC236}">
                  <a16:creationId xmlns="" xmlns:a16="http://schemas.microsoft.com/office/drawing/2014/main" id="{8E9E99C2-3FFE-4D21-BC7D-FBFB9DD3A9F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358736" y="-46759"/>
              <a:ext cx="13243214" cy="11414414"/>
            </a:xfrm>
            <a:prstGeom prst="line">
              <a:avLst/>
            </a:prstGeom>
            <a:ln w="254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Ellipse 59">
              <a:extLst>
                <a:ext uri="{FF2B5EF4-FFF2-40B4-BE49-F238E27FC236}">
                  <a16:creationId xmlns="" xmlns:a16="http://schemas.microsoft.com/office/drawing/2014/main" id="{3EBC27A3-CF83-4229-816A-8A939F89292A}"/>
                </a:ext>
              </a:extLst>
            </p:cNvPr>
            <p:cNvSpPr/>
            <p:nvPr userDrawn="1"/>
          </p:nvSpPr>
          <p:spPr>
            <a:xfrm>
              <a:off x="9220259" y="5304414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61" name="Ellipse 60">
              <a:extLst>
                <a:ext uri="{FF2B5EF4-FFF2-40B4-BE49-F238E27FC236}">
                  <a16:creationId xmlns="" xmlns:a16="http://schemas.microsoft.com/office/drawing/2014/main" id="{03A57FBE-32DC-4C53-9C43-B2988B4387E9}"/>
                </a:ext>
              </a:extLst>
            </p:cNvPr>
            <p:cNvSpPr/>
            <p:nvPr userDrawn="1"/>
          </p:nvSpPr>
          <p:spPr>
            <a:xfrm>
              <a:off x="10031063" y="4604419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62" name="Ellipse 61">
              <a:extLst>
                <a:ext uri="{FF2B5EF4-FFF2-40B4-BE49-F238E27FC236}">
                  <a16:creationId xmlns="" xmlns:a16="http://schemas.microsoft.com/office/drawing/2014/main" id="{81A31F76-1B57-434B-BD2B-1C80CB0BA029}"/>
                </a:ext>
              </a:extLst>
            </p:cNvPr>
            <p:cNvSpPr/>
            <p:nvPr userDrawn="1"/>
          </p:nvSpPr>
          <p:spPr>
            <a:xfrm>
              <a:off x="10841867" y="3904424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63" name="Ellipse 62">
              <a:extLst>
                <a:ext uri="{FF2B5EF4-FFF2-40B4-BE49-F238E27FC236}">
                  <a16:creationId xmlns="" xmlns:a16="http://schemas.microsoft.com/office/drawing/2014/main" id="{AD98F20E-1C3B-40DD-96A1-110EE91BEA88}"/>
                </a:ext>
              </a:extLst>
            </p:cNvPr>
            <p:cNvSpPr/>
            <p:nvPr userDrawn="1"/>
          </p:nvSpPr>
          <p:spPr>
            <a:xfrm>
              <a:off x="11652671" y="3204429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64" name="Ellipse 63">
              <a:extLst>
                <a:ext uri="{FF2B5EF4-FFF2-40B4-BE49-F238E27FC236}">
                  <a16:creationId xmlns="" xmlns:a16="http://schemas.microsoft.com/office/drawing/2014/main" id="{95D0AAF0-E0F9-4F12-BBC2-9C808CA791B1}"/>
                </a:ext>
              </a:extLst>
            </p:cNvPr>
            <p:cNvSpPr/>
            <p:nvPr userDrawn="1"/>
          </p:nvSpPr>
          <p:spPr>
            <a:xfrm>
              <a:off x="12463475" y="2504434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65" name="Ellipse 64">
              <a:extLst>
                <a:ext uri="{FF2B5EF4-FFF2-40B4-BE49-F238E27FC236}">
                  <a16:creationId xmlns="" xmlns:a16="http://schemas.microsoft.com/office/drawing/2014/main" id="{1FF3A5CF-0452-4829-B7E0-514DF2EA7F26}"/>
                </a:ext>
              </a:extLst>
            </p:cNvPr>
            <p:cNvSpPr/>
            <p:nvPr userDrawn="1"/>
          </p:nvSpPr>
          <p:spPr>
            <a:xfrm>
              <a:off x="13274279" y="1804439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66" name="Ellipse 65">
              <a:extLst>
                <a:ext uri="{FF2B5EF4-FFF2-40B4-BE49-F238E27FC236}">
                  <a16:creationId xmlns="" xmlns:a16="http://schemas.microsoft.com/office/drawing/2014/main" id="{11A6DB75-C9EA-439F-995B-E66C120E0070}"/>
                </a:ext>
              </a:extLst>
            </p:cNvPr>
            <p:cNvSpPr/>
            <p:nvPr userDrawn="1"/>
          </p:nvSpPr>
          <p:spPr>
            <a:xfrm>
              <a:off x="14085083" y="1104444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67" name="Ellipse 66">
              <a:extLst>
                <a:ext uri="{FF2B5EF4-FFF2-40B4-BE49-F238E27FC236}">
                  <a16:creationId xmlns="" xmlns:a16="http://schemas.microsoft.com/office/drawing/2014/main" id="{C9D043FD-CA88-4CF5-B26D-90F73AB28F77}"/>
                </a:ext>
              </a:extLst>
            </p:cNvPr>
            <p:cNvSpPr/>
            <p:nvPr userDrawn="1"/>
          </p:nvSpPr>
          <p:spPr>
            <a:xfrm>
              <a:off x="14895891" y="404449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68" name="Ellipse 67">
              <a:extLst>
                <a:ext uri="{FF2B5EF4-FFF2-40B4-BE49-F238E27FC236}">
                  <a16:creationId xmlns="" xmlns:a16="http://schemas.microsoft.com/office/drawing/2014/main" id="{DCBBB5A9-EE50-4A1C-B227-2F21F432598A}"/>
                </a:ext>
              </a:extLst>
            </p:cNvPr>
            <p:cNvSpPr/>
            <p:nvPr userDrawn="1"/>
          </p:nvSpPr>
          <p:spPr>
            <a:xfrm>
              <a:off x="2733827" y="10904376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69" name="Ellipse 68">
              <a:extLst>
                <a:ext uri="{FF2B5EF4-FFF2-40B4-BE49-F238E27FC236}">
                  <a16:creationId xmlns="" xmlns:a16="http://schemas.microsoft.com/office/drawing/2014/main" id="{29D7D3D7-3B18-40A0-8B16-4637928D22D9}"/>
                </a:ext>
              </a:extLst>
            </p:cNvPr>
            <p:cNvSpPr/>
            <p:nvPr userDrawn="1"/>
          </p:nvSpPr>
          <p:spPr>
            <a:xfrm>
              <a:off x="3544631" y="10204379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70" name="Ellipse 69">
              <a:extLst>
                <a:ext uri="{FF2B5EF4-FFF2-40B4-BE49-F238E27FC236}">
                  <a16:creationId xmlns="" xmlns:a16="http://schemas.microsoft.com/office/drawing/2014/main" id="{75B8F0A2-7073-493D-90E1-A19B6A45CE24}"/>
                </a:ext>
              </a:extLst>
            </p:cNvPr>
            <p:cNvSpPr/>
            <p:nvPr userDrawn="1"/>
          </p:nvSpPr>
          <p:spPr>
            <a:xfrm>
              <a:off x="4355435" y="9504384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71" name="Ellipse 70">
              <a:extLst>
                <a:ext uri="{FF2B5EF4-FFF2-40B4-BE49-F238E27FC236}">
                  <a16:creationId xmlns="" xmlns:a16="http://schemas.microsoft.com/office/drawing/2014/main" id="{04370944-0375-4EA0-A5E5-AC6BB0D91266}"/>
                </a:ext>
              </a:extLst>
            </p:cNvPr>
            <p:cNvSpPr/>
            <p:nvPr userDrawn="1"/>
          </p:nvSpPr>
          <p:spPr>
            <a:xfrm>
              <a:off x="5166239" y="8804389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72" name="Ellipse 71">
              <a:extLst>
                <a:ext uri="{FF2B5EF4-FFF2-40B4-BE49-F238E27FC236}">
                  <a16:creationId xmlns="" xmlns:a16="http://schemas.microsoft.com/office/drawing/2014/main" id="{F248CB55-8553-4254-B71A-77D20EA1A047}"/>
                </a:ext>
              </a:extLst>
            </p:cNvPr>
            <p:cNvSpPr/>
            <p:nvPr userDrawn="1"/>
          </p:nvSpPr>
          <p:spPr>
            <a:xfrm>
              <a:off x="5977043" y="8104394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73" name="Ellipse 72">
              <a:extLst>
                <a:ext uri="{FF2B5EF4-FFF2-40B4-BE49-F238E27FC236}">
                  <a16:creationId xmlns="" xmlns:a16="http://schemas.microsoft.com/office/drawing/2014/main" id="{E7D6E815-8D05-4D12-8F06-6BA1E12AAF23}"/>
                </a:ext>
              </a:extLst>
            </p:cNvPr>
            <p:cNvSpPr/>
            <p:nvPr userDrawn="1"/>
          </p:nvSpPr>
          <p:spPr>
            <a:xfrm>
              <a:off x="6787847" y="7404399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74" name="Ellipse 73">
              <a:extLst>
                <a:ext uri="{FF2B5EF4-FFF2-40B4-BE49-F238E27FC236}">
                  <a16:creationId xmlns="" xmlns:a16="http://schemas.microsoft.com/office/drawing/2014/main" id="{951EA2B6-AA64-46F1-B8F6-BCB890062BAC}"/>
                </a:ext>
              </a:extLst>
            </p:cNvPr>
            <p:cNvSpPr/>
            <p:nvPr userDrawn="1"/>
          </p:nvSpPr>
          <p:spPr>
            <a:xfrm>
              <a:off x="7598651" y="6704404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75" name="Ellipse 74">
              <a:extLst>
                <a:ext uri="{FF2B5EF4-FFF2-40B4-BE49-F238E27FC236}">
                  <a16:creationId xmlns="" xmlns:a16="http://schemas.microsoft.com/office/drawing/2014/main" id="{F5A002FA-C27E-40EC-99C0-C6589DC13179}"/>
                </a:ext>
              </a:extLst>
            </p:cNvPr>
            <p:cNvSpPr/>
            <p:nvPr userDrawn="1"/>
          </p:nvSpPr>
          <p:spPr>
            <a:xfrm>
              <a:off x="8409455" y="6004409"/>
              <a:ext cx="146634" cy="14663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</p:grp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éparat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 userDrawn="1">
            <p:ph type="title" hasCustomPrompt="1"/>
          </p:nvPr>
        </p:nvSpPr>
        <p:spPr>
          <a:xfrm>
            <a:off x="641229" y="3008740"/>
            <a:ext cx="10906654" cy="637853"/>
          </a:xfrm>
        </p:spPr>
        <p:txBody>
          <a:bodyPr lIns="0" tIns="0" rIns="0" bIns="0" anchor="ctr" anchorCtr="0">
            <a:noAutofit/>
          </a:bodyPr>
          <a:lstStyle>
            <a:lvl1pPr algn="ctr">
              <a:lnSpc>
                <a:spcPct val="90000"/>
              </a:lnSpc>
              <a:defRPr sz="3639" b="0" cap="all" spc="85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CA" noProof="0" dirty="0"/>
              <a:t>Titre de section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="" xmlns:a16="http://schemas.microsoft.com/office/drawing/2014/main" id="{3F0E6DD6-B7BF-4D41-92FA-B7E915C8D787}"/>
              </a:ext>
            </a:extLst>
          </p:cNvPr>
          <p:cNvGrpSpPr/>
          <p:nvPr userDrawn="1"/>
        </p:nvGrpSpPr>
        <p:grpSpPr>
          <a:xfrm>
            <a:off x="0" y="3267935"/>
            <a:ext cx="12192000" cy="88931"/>
            <a:chOff x="0" y="5388310"/>
            <a:chExt cx="20102513" cy="146634"/>
          </a:xfrm>
        </p:grpSpPr>
        <p:cxnSp>
          <p:nvCxnSpPr>
            <p:cNvPr id="26" name="Connecteur droit 25">
              <a:extLst>
                <a:ext uri="{FF2B5EF4-FFF2-40B4-BE49-F238E27FC236}">
                  <a16:creationId xmlns="" xmlns:a16="http://schemas.microsoft.com/office/drawing/2014/main" id="{68B02397-931D-4FE0-87FD-90DF3779082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5458108"/>
              <a:ext cx="6638411" cy="0"/>
            </a:xfrm>
            <a:prstGeom prst="line">
              <a:avLst/>
            </a:prstGeom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Ellipse 28">
              <a:extLst>
                <a:ext uri="{FF2B5EF4-FFF2-40B4-BE49-F238E27FC236}">
                  <a16:creationId xmlns="" xmlns:a16="http://schemas.microsoft.com/office/drawing/2014/main" id="{9DDEDD37-88FA-4FD0-BB5C-6B1C1621D5B8}"/>
                </a:ext>
              </a:extLst>
            </p:cNvPr>
            <p:cNvSpPr/>
            <p:nvPr userDrawn="1"/>
          </p:nvSpPr>
          <p:spPr>
            <a:xfrm rot="2444687">
              <a:off x="422881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30" name="Ellipse 29">
              <a:extLst>
                <a:ext uri="{FF2B5EF4-FFF2-40B4-BE49-F238E27FC236}">
                  <a16:creationId xmlns="" xmlns:a16="http://schemas.microsoft.com/office/drawing/2014/main" id="{24D43E6C-D64A-4106-9964-6F11102825C3}"/>
                </a:ext>
              </a:extLst>
            </p:cNvPr>
            <p:cNvSpPr/>
            <p:nvPr userDrawn="1"/>
          </p:nvSpPr>
          <p:spPr>
            <a:xfrm rot="2444687">
              <a:off x="5779927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31" name="Ellipse 30">
              <a:extLst>
                <a:ext uri="{FF2B5EF4-FFF2-40B4-BE49-F238E27FC236}">
                  <a16:creationId xmlns="" xmlns:a16="http://schemas.microsoft.com/office/drawing/2014/main" id="{D6593723-26F3-4DCF-A7CA-B51C65FD253F}"/>
                </a:ext>
              </a:extLst>
            </p:cNvPr>
            <p:cNvSpPr/>
            <p:nvPr userDrawn="1"/>
          </p:nvSpPr>
          <p:spPr>
            <a:xfrm rot="2444687">
              <a:off x="4708517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32" name="Ellipse 31">
              <a:extLst>
                <a:ext uri="{FF2B5EF4-FFF2-40B4-BE49-F238E27FC236}">
                  <a16:creationId xmlns="" xmlns:a16="http://schemas.microsoft.com/office/drawing/2014/main" id="{FDEB4BDB-6DBC-40A6-8500-969AD93A83D1}"/>
                </a:ext>
              </a:extLst>
            </p:cNvPr>
            <p:cNvSpPr/>
            <p:nvPr userDrawn="1"/>
          </p:nvSpPr>
          <p:spPr>
            <a:xfrm rot="2444687">
              <a:off x="3637108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33" name="Ellipse 32">
              <a:extLst>
                <a:ext uri="{FF2B5EF4-FFF2-40B4-BE49-F238E27FC236}">
                  <a16:creationId xmlns="" xmlns:a16="http://schemas.microsoft.com/office/drawing/2014/main" id="{01C6376F-A3E6-41A2-BA7C-62133177E5E7}"/>
                </a:ext>
              </a:extLst>
            </p:cNvPr>
            <p:cNvSpPr/>
            <p:nvPr userDrawn="1"/>
          </p:nvSpPr>
          <p:spPr>
            <a:xfrm rot="2444687">
              <a:off x="2565699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34" name="Ellipse 33">
              <a:extLst>
                <a:ext uri="{FF2B5EF4-FFF2-40B4-BE49-F238E27FC236}">
                  <a16:creationId xmlns="" xmlns:a16="http://schemas.microsoft.com/office/drawing/2014/main" id="{A7D2AF3B-A96F-4736-A83B-D3BDDC797A56}"/>
                </a:ext>
              </a:extLst>
            </p:cNvPr>
            <p:cNvSpPr/>
            <p:nvPr userDrawn="1"/>
          </p:nvSpPr>
          <p:spPr>
            <a:xfrm rot="2444687">
              <a:off x="1494290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="" xmlns:a16="http://schemas.microsoft.com/office/drawing/2014/main" id="{862AEB44-E968-46EA-AD64-39800DC6FAD9}"/>
                </a:ext>
              </a:extLst>
            </p:cNvPr>
            <p:cNvCxnSpPr>
              <a:cxnSpLocks/>
            </p:cNvCxnSpPr>
            <p:nvPr userDrawn="1"/>
          </p:nvCxnSpPr>
          <p:spPr>
            <a:xfrm rot="10800000">
              <a:off x="13464102" y="5465146"/>
              <a:ext cx="6638411" cy="0"/>
            </a:xfrm>
            <a:prstGeom prst="line">
              <a:avLst/>
            </a:prstGeom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Ellipse 44">
              <a:extLst>
                <a:ext uri="{FF2B5EF4-FFF2-40B4-BE49-F238E27FC236}">
                  <a16:creationId xmlns="" xmlns:a16="http://schemas.microsoft.com/office/drawing/2014/main" id="{D608290F-CC34-470E-ACA4-34401365E2D0}"/>
                </a:ext>
              </a:extLst>
            </p:cNvPr>
            <p:cNvSpPr/>
            <p:nvPr userDrawn="1"/>
          </p:nvSpPr>
          <p:spPr>
            <a:xfrm rot="13244687">
              <a:off x="19532998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46" name="Ellipse 45">
              <a:extLst>
                <a:ext uri="{FF2B5EF4-FFF2-40B4-BE49-F238E27FC236}">
                  <a16:creationId xmlns="" xmlns:a16="http://schemas.microsoft.com/office/drawing/2014/main" id="{0A62D9F0-2939-4192-84B0-5EDB720435C5}"/>
                </a:ext>
              </a:extLst>
            </p:cNvPr>
            <p:cNvSpPr/>
            <p:nvPr userDrawn="1"/>
          </p:nvSpPr>
          <p:spPr>
            <a:xfrm rot="13244687">
              <a:off x="14175952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47" name="Ellipse 46">
              <a:extLst>
                <a:ext uri="{FF2B5EF4-FFF2-40B4-BE49-F238E27FC236}">
                  <a16:creationId xmlns="" xmlns:a16="http://schemas.microsoft.com/office/drawing/2014/main" id="{27DA6A44-FE73-4348-BA23-118359288457}"/>
                </a:ext>
              </a:extLst>
            </p:cNvPr>
            <p:cNvSpPr/>
            <p:nvPr userDrawn="1"/>
          </p:nvSpPr>
          <p:spPr>
            <a:xfrm rot="13244687">
              <a:off x="15247362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48" name="Ellipse 47">
              <a:extLst>
                <a:ext uri="{FF2B5EF4-FFF2-40B4-BE49-F238E27FC236}">
                  <a16:creationId xmlns="" xmlns:a16="http://schemas.microsoft.com/office/drawing/2014/main" id="{E3243824-9A93-4417-924E-3EFBC8F47D96}"/>
                </a:ext>
              </a:extLst>
            </p:cNvPr>
            <p:cNvSpPr/>
            <p:nvPr userDrawn="1"/>
          </p:nvSpPr>
          <p:spPr>
            <a:xfrm rot="13244687">
              <a:off x="16318771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49" name="Ellipse 48">
              <a:extLst>
                <a:ext uri="{FF2B5EF4-FFF2-40B4-BE49-F238E27FC236}">
                  <a16:creationId xmlns="" xmlns:a16="http://schemas.microsoft.com/office/drawing/2014/main" id="{F84AD702-E660-479A-AC53-D410A710FE37}"/>
                </a:ext>
              </a:extLst>
            </p:cNvPr>
            <p:cNvSpPr/>
            <p:nvPr userDrawn="1"/>
          </p:nvSpPr>
          <p:spPr>
            <a:xfrm rot="13244687">
              <a:off x="17390180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  <p:sp>
          <p:nvSpPr>
            <p:cNvPr id="50" name="Ellipse 49">
              <a:extLst>
                <a:ext uri="{FF2B5EF4-FFF2-40B4-BE49-F238E27FC236}">
                  <a16:creationId xmlns="" xmlns:a16="http://schemas.microsoft.com/office/drawing/2014/main" id="{1B4C162B-8070-43CA-A92E-D23DF2841293}"/>
                </a:ext>
              </a:extLst>
            </p:cNvPr>
            <p:cNvSpPr/>
            <p:nvPr userDrawn="1"/>
          </p:nvSpPr>
          <p:spPr>
            <a:xfrm rot="13244687">
              <a:off x="18461589" y="5388310"/>
              <a:ext cx="146634" cy="1466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1372" tIns="45685" rIns="91372" bIns="45685" rtlCol="0" anchor="ctr"/>
            <a:lstStyle/>
            <a:p>
              <a:pPr algn="ctr"/>
              <a:endParaRPr lang="en-US" sz="1092">
                <a:solidFill>
                  <a:srgbClr val="000000"/>
                </a:solidFill>
              </a:endParaRPr>
            </a:p>
          </p:txBody>
        </p:sp>
      </p:grpSp>
    </p:spTree>
    <p:extLst/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e en page fond noi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="" xmlns:a16="http://schemas.microsoft.com/office/drawing/2014/main" id="{E2DB7BEB-AC89-462A-94E8-F853DBCCB1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705329" y="1739832"/>
            <a:ext cx="3842507" cy="3741393"/>
          </a:xfrm>
        </p:spPr>
        <p:txBody>
          <a:bodyPr/>
          <a:lstStyle>
            <a:lvl1pPr>
              <a:spcBef>
                <a:spcPts val="728"/>
              </a:spcBef>
              <a:defRPr/>
            </a:lvl1pPr>
            <a:lvl2pPr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7" name="Titre 9">
            <a:extLst>
              <a:ext uri="{FF2B5EF4-FFF2-40B4-BE49-F238E27FC236}">
                <a16:creationId xmlns="" xmlns:a16="http://schemas.microsoft.com/office/drawing/2014/main" id="{FBEE936B-2BAC-4E6D-8C08-F72930811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05329" y="768468"/>
            <a:ext cx="3842508" cy="3772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  <p:sp>
        <p:nvSpPr>
          <p:cNvPr id="4" name="Espace réservé pour une image  2">
            <a:extLst>
              <a:ext uri="{FF2B5EF4-FFF2-40B4-BE49-F238E27FC236}">
                <a16:creationId xmlns="" xmlns:a16="http://schemas.microsoft.com/office/drawing/2014/main" id="{9F35B339-DA2A-4C49-95E8-18767E67DF8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6723164" cy="6858000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fr-CA" dirty="0"/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e et image 1">
  <p:cSld name="Texte et image 1">
    <p:bg>
      <p:bgPr>
        <a:solidFill>
          <a:srgbClr val="F4DA92"/>
        </a:solidFill>
        <a:effectLst/>
      </p:bgPr>
    </p:bg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6"/>
          <p:cNvSpPr/>
          <p:nvPr/>
        </p:nvSpPr>
        <p:spPr>
          <a:xfrm>
            <a:off x="0" y="0"/>
            <a:ext cx="6535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6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5263200" cy="18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27" name="Google Shape;127;p6"/>
          <p:cNvSpPr txBox="1">
            <a:spLocks noGrp="1"/>
          </p:cNvSpPr>
          <p:nvPr>
            <p:ph type="body" idx="1"/>
          </p:nvPr>
        </p:nvSpPr>
        <p:spPr>
          <a:xfrm>
            <a:off x="1152000" y="3220367"/>
            <a:ext cx="5263200" cy="28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129" name="Google Shape;129;p6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0" name="Google Shape;130;p6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31" name="Google Shape;131;p6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132" name="Google Shape;132;p6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33" name="Google Shape;133;p6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34" name="Google Shape;134;p6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35" name="Google Shape;135;p6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36" name="Google Shape;136;p6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37" name="Google Shape;137;p6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38" name="Google Shape;138;p6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39" name="Google Shape;139;p6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0" name="Google Shape;140;p6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1" name="Google Shape;141;p6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2" name="Google Shape;142;p6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3" name="Google Shape;143;p6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4" name="Google Shape;144;p6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5" name="Google Shape;145;p6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6" name="Google Shape;146;p6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7" name="Google Shape;147;p6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8" name="Google Shape;148;p6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9" name="Google Shape;149;p6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0" name="Google Shape;150;p6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1" name="Google Shape;151;p6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2" name="Google Shape;152;p6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3" name="Google Shape;153;p6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4" name="Google Shape;154;p6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5" name="Google Shape;155;p6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6" name="Google Shape;156;p6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7" name="Google Shape;157;p6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8" name="Google Shape;158;p6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9" name="Google Shape;159;p6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0" name="Google Shape;160;p6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1" name="Google Shape;161;p6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2" name="Google Shape;162;p6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3" name="Google Shape;163;p6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4" name="Google Shape;164;p6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5" name="Google Shape;165;p6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6" name="Google Shape;166;p6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7" name="Google Shape;167;p6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8" name="Google Shape;168;p6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9" name="Google Shape;169;p6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70" name="Google Shape;170;p6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71" name="Google Shape;171;p6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72" name="Google Shape;172;p6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73" name="Google Shape;173;p6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74" name="Google Shape;174;p6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75" name="Google Shape;175;p6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76" name="Google Shape;176;p6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177" name="Google Shape;177;p6"/>
          <p:cNvSpPr txBox="1">
            <a:spLocks noGrp="1"/>
          </p:cNvSpPr>
          <p:nvPr>
            <p:ph type="subTitle" idx="2"/>
          </p:nvPr>
        </p:nvSpPr>
        <p:spPr>
          <a:xfrm>
            <a:off x="1152000" y="2170300"/>
            <a:ext cx="5263200" cy="10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78" name="Google Shape;178;p6"/>
          <p:cNvSpPr>
            <a:spLocks noGrp="1"/>
          </p:cNvSpPr>
          <p:nvPr>
            <p:ph type="pic" idx="3"/>
          </p:nvPr>
        </p:nvSpPr>
        <p:spPr>
          <a:xfrm>
            <a:off x="7439533" y="1470533"/>
            <a:ext cx="3796800" cy="392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1521">
          <p15:clr>
            <a:srgbClr val="E46962"/>
          </p15:clr>
        </p15:guide>
        <p15:guide id="4" orient="horz" pos="1025">
          <p15:clr>
            <a:srgbClr val="E46962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spcBef>
                <a:spcPts val="728"/>
              </a:spcBef>
              <a:defRPr/>
            </a:lvl1pPr>
            <a:lvl2pPr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</p:spTree>
    <p:extLst/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2104" y="1739832"/>
            <a:ext cx="5240085" cy="3741393"/>
          </a:xfrm>
        </p:spPr>
        <p:txBody>
          <a:bodyPr/>
          <a:lstStyle>
            <a:lvl1pPr>
              <a:spcBef>
                <a:spcPts val="728"/>
              </a:spcBef>
              <a:defRPr/>
            </a:lvl1pPr>
            <a:lvl2pPr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>
          <a:xfrm>
            <a:off x="652104" y="515270"/>
            <a:ext cx="10895732" cy="37726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163FEA60-A53E-4F8E-96AC-0145BE5233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07751" y="1739832"/>
            <a:ext cx="5240085" cy="3741393"/>
          </a:xfrm>
        </p:spPr>
        <p:txBody>
          <a:bodyPr/>
          <a:lstStyle>
            <a:lvl1pPr>
              <a:spcBef>
                <a:spcPts val="728"/>
              </a:spcBef>
              <a:defRPr/>
            </a:lvl1pPr>
            <a:lvl2pPr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</p:spTree>
    <p:extLst/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2104" y="1739832"/>
            <a:ext cx="3231386" cy="3741393"/>
          </a:xfrm>
        </p:spPr>
        <p:txBody>
          <a:bodyPr/>
          <a:lstStyle>
            <a:lvl1pPr algn="ctr">
              <a:spcBef>
                <a:spcPts val="728"/>
              </a:spcBef>
              <a:defRPr/>
            </a:lvl1pPr>
            <a:lvl2pPr algn="ctr"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>
          <a:xfrm>
            <a:off x="652104" y="515270"/>
            <a:ext cx="10895732" cy="37726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172EB442-AB2D-4D6A-80C2-0956841950F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84277" y="1739832"/>
            <a:ext cx="3231386" cy="3741393"/>
          </a:xfrm>
        </p:spPr>
        <p:txBody>
          <a:bodyPr/>
          <a:lstStyle>
            <a:lvl1pPr algn="ctr">
              <a:spcBef>
                <a:spcPts val="728"/>
              </a:spcBef>
              <a:defRPr/>
            </a:lvl1pPr>
            <a:lvl2pPr algn="ctr"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1DE8FBD2-6A92-48E8-9394-46D4701F8D3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16450" y="1739832"/>
            <a:ext cx="3231386" cy="3741393"/>
          </a:xfrm>
        </p:spPr>
        <p:txBody>
          <a:bodyPr/>
          <a:lstStyle>
            <a:lvl1pPr algn="ctr">
              <a:spcBef>
                <a:spcPts val="728"/>
              </a:spcBef>
              <a:defRPr/>
            </a:lvl1pPr>
            <a:lvl2pPr algn="ctr"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</p:spTree>
    <p:extLst/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4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2104" y="1739832"/>
            <a:ext cx="2401706" cy="3741393"/>
          </a:xfrm>
        </p:spPr>
        <p:txBody>
          <a:bodyPr/>
          <a:lstStyle>
            <a:lvl1pPr algn="ctr">
              <a:spcBef>
                <a:spcPts val="728"/>
              </a:spcBef>
              <a:defRPr/>
            </a:lvl1pPr>
            <a:lvl2pPr algn="ctr"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>
          <a:xfrm>
            <a:off x="652104" y="515270"/>
            <a:ext cx="10895732" cy="37726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172EB442-AB2D-4D6A-80C2-0956841950F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483446" y="1739832"/>
            <a:ext cx="2401706" cy="3741393"/>
          </a:xfrm>
        </p:spPr>
        <p:txBody>
          <a:bodyPr/>
          <a:lstStyle>
            <a:lvl1pPr algn="ctr">
              <a:spcBef>
                <a:spcPts val="728"/>
              </a:spcBef>
              <a:defRPr/>
            </a:lvl1pPr>
            <a:lvl2pPr algn="ctr"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1DE8FBD2-6A92-48E8-9394-46D4701F8D3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146130" y="1739832"/>
            <a:ext cx="2401706" cy="3741393"/>
          </a:xfrm>
        </p:spPr>
        <p:txBody>
          <a:bodyPr/>
          <a:lstStyle>
            <a:lvl1pPr algn="ctr">
              <a:spcBef>
                <a:spcPts val="728"/>
              </a:spcBef>
              <a:defRPr/>
            </a:lvl1pPr>
            <a:lvl2pPr algn="ctr"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2A8BEBB4-F4BD-4F49-AA33-38F6DF850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14788" y="1739832"/>
            <a:ext cx="2401706" cy="3741393"/>
          </a:xfrm>
        </p:spPr>
        <p:txBody>
          <a:bodyPr/>
          <a:lstStyle>
            <a:lvl1pPr algn="ctr">
              <a:spcBef>
                <a:spcPts val="728"/>
              </a:spcBef>
              <a:defRPr/>
            </a:lvl1pPr>
            <a:lvl2pPr algn="ctr"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</p:spTree>
    <p:extLst/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 1 colonne fond foncé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FEA4C4D2-6F22-463C-B2C8-8779558A4EF7}"/>
              </a:ext>
            </a:extLst>
          </p:cNvPr>
          <p:cNvSpPr/>
          <p:nvPr userDrawn="1"/>
        </p:nvSpPr>
        <p:spPr>
          <a:xfrm>
            <a:off x="-964" y="6169613"/>
            <a:ext cx="12192963" cy="68838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5416" tIns="27707" rIns="55416" bIns="27707" rtlCol="0" anchor="ctr"/>
          <a:lstStyle/>
          <a:p>
            <a:pPr algn="ctr"/>
            <a:endParaRPr lang="en-US" sz="1092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spcBef>
                <a:spcPts val="728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364"/>
              </a:spcBef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DD136B-64FC-6A41-8A4B-BCAFB6CA4887}" type="slidenum">
              <a:rPr lang="fr-CA" smtClean="0">
                <a:solidFill>
                  <a:srgbClr val="FFFFFF"/>
                </a:solidFill>
              </a:rPr>
              <a:pPr/>
              <a:t>‹#›</a:t>
            </a:fld>
            <a:endParaRPr lang="fr-CA" dirty="0">
              <a:solidFill>
                <a:srgbClr val="FFFFFF"/>
              </a:solidFill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  <p:pic>
        <p:nvPicPr>
          <p:cNvPr id="14" name="Picture 136" descr="Résultats de recherche d'images pour « McGill Center for Intelligent Machines logo »">
            <a:extLst>
              <a:ext uri="{FF2B5EF4-FFF2-40B4-BE49-F238E27FC236}">
                <a16:creationId xmlns="" xmlns:a16="http://schemas.microsoft.com/office/drawing/2014/main" id="{9E2C9200-5FB7-42D6-96BA-17FF8BFC3D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619" y="6326465"/>
            <a:ext cx="833291" cy="418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</p:spTree>
    <p:extLst/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hoto gauche et contenu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>
          <a:xfrm>
            <a:off x="6307751" y="515270"/>
            <a:ext cx="5240085" cy="37726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163FEA60-A53E-4F8E-96AC-0145BE5233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07751" y="1739832"/>
            <a:ext cx="5240085" cy="3741393"/>
          </a:xfrm>
        </p:spPr>
        <p:txBody>
          <a:bodyPr/>
          <a:lstStyle>
            <a:lvl1pPr>
              <a:spcBef>
                <a:spcPts val="728"/>
              </a:spcBef>
              <a:defRPr/>
            </a:lvl1pPr>
            <a:lvl2pPr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="" xmlns:a16="http://schemas.microsoft.com/office/drawing/2014/main" id="{3E4189B7-EA20-4506-9C5C-90DA95A158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5884249" cy="6168638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fr-CA" dirty="0"/>
          </a:p>
        </p:txBody>
      </p:sp>
    </p:spTree>
    <p:extLst/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contenu gauche et photo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="" xmlns:a16="http://schemas.microsoft.com/office/drawing/2014/main" id="{3E4189B7-EA20-4506-9C5C-90DA95A158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07751" y="0"/>
            <a:ext cx="5884249" cy="6168638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fr-CA" dirty="0"/>
          </a:p>
        </p:txBody>
      </p:sp>
      <p:sp>
        <p:nvSpPr>
          <p:cNvPr id="7" name="Titre 9">
            <a:extLst>
              <a:ext uri="{FF2B5EF4-FFF2-40B4-BE49-F238E27FC236}">
                <a16:creationId xmlns="" xmlns:a16="http://schemas.microsoft.com/office/drawing/2014/main" id="{31B3EC4F-1674-413A-B9B6-F7D5C8EF6E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104" y="515270"/>
            <a:ext cx="5240085" cy="37726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DEC227C1-985A-4494-91C5-6242A7F121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104" y="1739832"/>
            <a:ext cx="5240085" cy="3741393"/>
          </a:xfrm>
        </p:spPr>
        <p:txBody>
          <a:bodyPr/>
          <a:lstStyle>
            <a:lvl1pPr>
              <a:spcBef>
                <a:spcPts val="728"/>
              </a:spcBef>
              <a:defRPr/>
            </a:lvl1pPr>
            <a:lvl2pPr>
              <a:spcBef>
                <a:spcPts val="607"/>
              </a:spcBef>
              <a:defRPr/>
            </a:lvl2pPr>
          </a:lstStyle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</p:spTree>
    <p:extLst/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re de la diapositive</a:t>
            </a:r>
            <a:endParaRPr lang="fr-CA" dirty="0"/>
          </a:p>
        </p:txBody>
      </p:sp>
      <p:sp>
        <p:nvSpPr>
          <p:cNvPr id="5" name="Espace réservé du texte 11">
            <a:extLst>
              <a:ext uri="{FF2B5EF4-FFF2-40B4-BE49-F238E27FC236}">
                <a16:creationId xmlns="" xmlns:a16="http://schemas.microsoft.com/office/drawing/2014/main" id="{A3646141-1E87-4A0A-9AA8-8577D6CD02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495" y="929485"/>
            <a:ext cx="10895010" cy="344500"/>
          </a:xfr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941" cap="all" spc="61" baseline="0"/>
            </a:lvl1pPr>
            <a:lvl2pPr marL="457199" indent="0">
              <a:buNone/>
              <a:defRPr sz="1456"/>
            </a:lvl2pPr>
            <a:lvl3pPr marL="914397" indent="0">
              <a:buNone/>
              <a:defRPr sz="1456"/>
            </a:lvl3pPr>
            <a:lvl4pPr marL="1371596" indent="0">
              <a:buNone/>
              <a:defRPr sz="1456"/>
            </a:lvl4pPr>
            <a:lvl5pPr marL="1828795" indent="0">
              <a:buNone/>
              <a:defRPr sz="1456"/>
            </a:lvl5pPr>
          </a:lstStyle>
          <a:p>
            <a:pPr lvl="0"/>
            <a:r>
              <a:rPr lang="fr-FR" dirty="0"/>
              <a:t>Sous-titre</a:t>
            </a:r>
          </a:p>
        </p:txBody>
      </p:sp>
    </p:spTree>
    <p:extLst/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avec bas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e et image 2">
  <p:cSld name="Texte et image 2">
    <p:bg>
      <p:bgPr>
        <a:solidFill>
          <a:srgbClr val="B9DBC1"/>
        </a:solidFill>
        <a:effectLst/>
      </p:bgPr>
    </p:bg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7"/>
          <p:cNvSpPr/>
          <p:nvPr/>
        </p:nvSpPr>
        <p:spPr>
          <a:xfrm>
            <a:off x="0" y="0"/>
            <a:ext cx="6535200" cy="6858000"/>
          </a:xfrm>
          <a:prstGeom prst="rect">
            <a:avLst/>
          </a:prstGeom>
          <a:solidFill>
            <a:srgbClr val="F4F5F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atinLnBrk="0">
              <a:buClr>
                <a:srgbClr val="000000"/>
              </a:buClr>
              <a:buSzPts val="1400"/>
              <a:buFont typeface="Arial"/>
              <a:buNone/>
            </a:pPr>
            <a:endParaRPr sz="1867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1" name="Google Shape;181;p7"/>
          <p:cNvSpPr txBox="1">
            <a:spLocks noGrp="1"/>
          </p:cNvSpPr>
          <p:nvPr>
            <p:ph type="title"/>
          </p:nvPr>
        </p:nvSpPr>
        <p:spPr>
          <a:xfrm>
            <a:off x="1152000" y="291233"/>
            <a:ext cx="5263200" cy="18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82" name="Google Shape;182;p7"/>
          <p:cNvSpPr txBox="1">
            <a:spLocks noGrp="1"/>
          </p:cNvSpPr>
          <p:nvPr>
            <p:ph type="body" idx="1"/>
          </p:nvPr>
        </p:nvSpPr>
        <p:spPr>
          <a:xfrm>
            <a:off x="1152000" y="3220400"/>
            <a:ext cx="5263200" cy="28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 sz="1400"/>
            </a:lvl1pPr>
            <a:lvl2pPr marL="1219170" lvl="1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2pPr>
            <a:lvl3pPr marL="1828754" lvl="2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3pPr>
            <a:lvl4pPr marL="2438339" lvl="3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4pPr>
            <a:lvl5pPr marL="3047924" lvl="4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5pPr>
            <a:lvl6pPr marL="3657509" lvl="5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6pPr>
            <a:lvl7pPr marL="4267093" lvl="6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7pPr>
            <a:lvl8pPr marL="4876678" lvl="7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8pPr>
            <a:lvl9pPr marL="5486263" lvl="8" indent="-3936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fld id="{00000000-1234-1234-1234-123412341234}" type="slidenum">
              <a:rPr lang="fr">
                <a:solidFill>
                  <a:srgbClr val="662E7D"/>
                </a:solidFill>
              </a:rPr>
              <a:pPr/>
              <a:t>‹#›</a:t>
            </a:fld>
            <a:endParaRPr dirty="0">
              <a:solidFill>
                <a:srgbClr val="662E7D"/>
              </a:solidFill>
            </a:endParaRPr>
          </a:p>
        </p:txBody>
      </p:sp>
      <p:cxnSp>
        <p:nvCxnSpPr>
          <p:cNvPr id="184" name="Google Shape;184;p7"/>
          <p:cNvCxnSpPr/>
          <p:nvPr/>
        </p:nvCxnSpPr>
        <p:spPr>
          <a:xfrm>
            <a:off x="-13367" y="6355200"/>
            <a:ext cx="12212000" cy="16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85" name="Google Shape;185;p7"/>
          <p:cNvCxnSpPr/>
          <p:nvPr/>
        </p:nvCxnSpPr>
        <p:spPr>
          <a:xfrm>
            <a:off x="641700" y="-6700"/>
            <a:ext cx="0" cy="687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86" name="Google Shape;186;p7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187" name="Google Shape;187;p7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88" name="Google Shape;188;p7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89" name="Google Shape;189;p7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0" name="Google Shape;190;p7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1" name="Google Shape;191;p7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2" name="Google Shape;192;p7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3" name="Google Shape;193;p7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4" name="Google Shape;194;p7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5" name="Google Shape;195;p7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6" name="Google Shape;196;p7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7" name="Google Shape;197;p7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8" name="Google Shape;198;p7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9" name="Google Shape;199;p7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0" name="Google Shape;200;p7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1" name="Google Shape;201;p7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2" name="Google Shape;202;p7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3" name="Google Shape;203;p7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4" name="Google Shape;204;p7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5" name="Google Shape;205;p7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6" name="Google Shape;206;p7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7" name="Google Shape;207;p7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8" name="Google Shape;208;p7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9" name="Google Shape;209;p7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0" name="Google Shape;210;p7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1" name="Google Shape;211;p7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2" name="Google Shape;212;p7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3" name="Google Shape;213;p7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4" name="Google Shape;214;p7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5" name="Google Shape;215;p7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6" name="Google Shape;216;p7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7" name="Google Shape;217;p7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8" name="Google Shape;218;p7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9" name="Google Shape;219;p7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0" name="Google Shape;220;p7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1" name="Google Shape;221;p7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2" name="Google Shape;222;p7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3" name="Google Shape;223;p7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4" name="Google Shape;224;p7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5" name="Google Shape;225;p7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6" name="Google Shape;226;p7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7" name="Google Shape;227;p7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8" name="Google Shape;228;p7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9" name="Google Shape;229;p7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30" name="Google Shape;230;p7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31" name="Google Shape;231;p7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 dirty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  <p:sp>
        <p:nvSpPr>
          <p:cNvPr id="232" name="Google Shape;232;p7"/>
          <p:cNvSpPr txBox="1">
            <a:spLocks noGrp="1"/>
          </p:cNvSpPr>
          <p:nvPr>
            <p:ph type="subTitle" idx="2"/>
          </p:nvPr>
        </p:nvSpPr>
        <p:spPr>
          <a:xfrm>
            <a:off x="1152000" y="2170300"/>
            <a:ext cx="5263200" cy="10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22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233" name="Google Shape;233;p7"/>
          <p:cNvSpPr>
            <a:spLocks noGrp="1"/>
          </p:cNvSpPr>
          <p:nvPr>
            <p:ph type="pic" idx="3"/>
          </p:nvPr>
        </p:nvSpPr>
        <p:spPr>
          <a:xfrm>
            <a:off x="7555200" y="624000"/>
            <a:ext cx="3571200" cy="53568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E46962"/>
          </p15:clr>
        </p15:guide>
        <p15:guide id="2" orient="horz" pos="138">
          <p15:clr>
            <a:srgbClr val="E46962"/>
          </p15:clr>
        </p15:guide>
        <p15:guide id="3" orient="horz" pos="1025">
          <p15:clr>
            <a:srgbClr val="E46962"/>
          </p15:clr>
        </p15:guide>
        <p15:guide id="4" orient="horz" pos="1521">
          <p15:clr>
            <a:srgbClr val="E46962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 sans bas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3" lvl="0" indent="-457188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66" lvl="1" indent="-423322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49" lvl="2" indent="-423322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2" lvl="3" indent="-423322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15" lvl="4" indent="-423322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499" lvl="5" indent="-423322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81" lvl="6" indent="-423322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65" lvl="7" indent="-423322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47" lvl="8" indent="-423322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uk-UA" smtClean="0">
                <a:solidFill>
                  <a:srgbClr val="000000"/>
                </a:solidFill>
              </a:rPr>
              <a:pPr/>
              <a:t>‹#›</a:t>
            </a:fld>
            <a:endParaRPr lang="uk-UA">
              <a:solidFill>
                <a:srgbClr val="000000"/>
              </a:solidFill>
            </a:endParaRPr>
          </a:p>
        </p:txBody>
      </p:sp>
      <p:pic>
        <p:nvPicPr>
          <p:cNvPr id="20" name="Google Shape;20;p4" descr="Home - Mila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84501" y="6364495"/>
            <a:ext cx="1097633" cy="446567"/>
          </a:xfrm>
          <a:prstGeom prst="rect">
            <a:avLst/>
          </a:prstGeom>
          <a:noFill/>
          <a:ln>
            <a:noFill/>
          </a:ln>
        </p:spPr>
      </p:pic>
    </p:spTree>
    <p:extLst/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x" preserve="1">
  <p:cSld name="Title Sli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4"/>
          <p:cNvSpPr txBox="1">
            <a:spLocks noGrp="1"/>
          </p:cNvSpPr>
          <p:nvPr>
            <p:ph type="title"/>
          </p:nvPr>
        </p:nvSpPr>
        <p:spPr>
          <a:xfrm>
            <a:off x="233280" y="529920"/>
            <a:ext cx="11735520" cy="313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4"/>
          <p:cNvSpPr txBox="1">
            <a:spLocks noGrp="1"/>
          </p:cNvSpPr>
          <p:nvPr>
            <p:ph type="subTitle" idx="1" hasCustomPrompt="1"/>
          </p:nvPr>
        </p:nvSpPr>
        <p:spPr>
          <a:xfrm>
            <a:off x="609600" y="1604640"/>
            <a:ext cx="1097232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fr-CA" dirty="0"/>
              <a:t>X</a:t>
            </a:r>
          </a:p>
          <a:p>
            <a:pPr lvl="4"/>
            <a:r>
              <a:rPr lang="fr-CA" dirty="0"/>
              <a:t>Y</a:t>
            </a:r>
          </a:p>
          <a:p>
            <a:pPr lvl="2"/>
            <a:r>
              <a:rPr lang="fr-CA" dirty="0"/>
              <a:t>Z</a:t>
            </a:r>
          </a:p>
          <a:p>
            <a:pPr lvl="3"/>
            <a:r>
              <a:rPr lang="fr-CA" dirty="0"/>
              <a:t>w</a:t>
            </a:r>
            <a:endParaRPr dirty="0"/>
          </a:p>
        </p:txBody>
      </p:sp>
    </p:spTree>
    <p:extLst/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 preserve="1">
  <p:cSld name="Titre et contenu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5"/>
          <p:cNvSpPr txBox="1">
            <a:spLocks noGrp="1"/>
          </p:cNvSpPr>
          <p:nvPr>
            <p:ph type="title"/>
          </p:nvPr>
        </p:nvSpPr>
        <p:spPr>
          <a:xfrm>
            <a:off x="838200" y="224448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400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40000"/>
              <a:buChar char="•"/>
              <a:defRPr sz="2400" b="0"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400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40000"/>
              <a:buChar char="•"/>
              <a:defRPr sz="1800"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CA" dirty="0"/>
          </a:p>
          <a:p>
            <a:pPr lvl="1"/>
            <a:endParaRPr lang="fr-CA" dirty="0"/>
          </a:p>
          <a:p>
            <a:pPr lvl="2"/>
            <a:endParaRPr lang="fr-CA" dirty="0"/>
          </a:p>
          <a:p>
            <a:pPr lvl="3"/>
            <a:endParaRPr dirty="0"/>
          </a:p>
        </p:txBody>
      </p:sp>
    </p:spTree>
    <p:extLst/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Image 9" descr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Texte du titre"/>
          <p:cNvSpPr txBox="1">
            <a:spLocks noGrp="1"/>
          </p:cNvSpPr>
          <p:nvPr>
            <p:ph type="title"/>
          </p:nvPr>
        </p:nvSpPr>
        <p:spPr>
          <a:xfrm>
            <a:off x="822960" y="810877"/>
            <a:ext cx="9144001" cy="3252162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 sz="6000">
                <a:solidFill>
                  <a:srgbClr val="FFFFFF"/>
                </a:solid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8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22960" y="4218316"/>
            <a:ext cx="9144001" cy="1039486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FFFFFF"/>
                </a:solidFill>
              </a:defRPr>
            </a:lvl1pPr>
            <a:lvl2pPr>
              <a:defRPr sz="2400" b="0">
                <a:solidFill>
                  <a:srgbClr val="FFFFFF"/>
                </a:solidFill>
              </a:defRPr>
            </a:lvl2pPr>
            <a:lvl3pPr marL="0" indent="0">
              <a:buSzTx/>
              <a:buNone/>
              <a:defRPr sz="2400" b="0">
                <a:solidFill>
                  <a:srgbClr val="FFFFFF"/>
                </a:solidFill>
              </a:defRPr>
            </a:lvl3pPr>
            <a:lvl4pPr marL="0" indent="0">
              <a:buSzTx/>
              <a:buNone/>
              <a:defRPr sz="2400" b="0">
                <a:solidFill>
                  <a:srgbClr val="FFFFFF"/>
                </a:solidFill>
              </a:defRPr>
            </a:lvl4pPr>
            <a:lvl5pPr>
              <a:defRPr sz="2400" b="0">
                <a:solidFill>
                  <a:srgbClr val="FFFFFF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19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55385" y="6269943"/>
            <a:ext cx="182216" cy="17281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Texte du titre"/>
          <p:cNvSpPr txBox="1">
            <a:spLocks noGrp="1"/>
          </p:cNvSpPr>
          <p:nvPr>
            <p:ph type="title"/>
          </p:nvPr>
        </p:nvSpPr>
        <p:spPr>
          <a:xfrm>
            <a:off x="822960" y="1618345"/>
            <a:ext cx="10515601" cy="1688870"/>
          </a:xfrm>
          <a:prstGeom prst="rect">
            <a:avLst/>
          </a:prstGeom>
        </p:spPr>
        <p:txBody>
          <a:bodyPr/>
          <a:lstStyle>
            <a:lvl1pPr>
              <a:defRPr sz="4200"/>
            </a:lvl1pPr>
          </a:lstStyle>
          <a:p>
            <a:r>
              <a:t>Texte du titre</a:t>
            </a:r>
          </a:p>
        </p:txBody>
      </p:sp>
      <p:sp>
        <p:nvSpPr>
          <p:cNvPr id="49" name="Connecteur droit 6"/>
          <p:cNvSpPr/>
          <p:nvPr/>
        </p:nvSpPr>
        <p:spPr>
          <a:xfrm flipH="1">
            <a:off x="838199" y="6198733"/>
            <a:ext cx="205744" cy="41574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pic>
        <p:nvPicPr>
          <p:cNvPr id="50" name="Image 7" descr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51" name="Connecteur droit 8"/>
          <p:cNvSpPr/>
          <p:nvPr/>
        </p:nvSpPr>
        <p:spPr>
          <a:xfrm>
            <a:off x="798969" y="3410051"/>
            <a:ext cx="1023342" cy="3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52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image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60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6333392" y="-82584"/>
            <a:ext cx="5242560" cy="435133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800"/>
              </a:spcBef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1pPr>
            <a:lvl2pPr>
              <a:spcBef>
                <a:spcPts val="800"/>
              </a:spcBef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2pPr>
            <a:lvl3pPr marL="0" indent="0">
              <a:spcBef>
                <a:spcPts val="800"/>
              </a:spcBef>
              <a:buSzTx/>
              <a:buNone/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3pPr>
            <a:lvl4pPr marL="497620" indent="-267432">
              <a:spcBef>
                <a:spcPts val="800"/>
              </a:spcBef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4pPr>
            <a:lvl5pPr>
              <a:spcBef>
                <a:spcPts val="800"/>
              </a:spcBef>
              <a:tabLst>
                <a:tab pos="444500" algn="l"/>
              </a:tabLst>
              <a:defRPr sz="3000">
                <a:solidFill>
                  <a:schemeClr val="accent1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pic>
        <p:nvPicPr>
          <p:cNvPr id="61" name="Image 8" descr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Connecteur droit 9"/>
          <p:cNvSpPr/>
          <p:nvPr/>
        </p:nvSpPr>
        <p:spPr>
          <a:xfrm>
            <a:off x="6300654" y="4401906"/>
            <a:ext cx="1023340" cy="3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63" name="Espace réservé pour une image  13"/>
          <p:cNvSpPr>
            <a:spLocks noGrp="1"/>
          </p:cNvSpPr>
          <p:nvPr>
            <p:ph type="pic" idx="21"/>
          </p:nvPr>
        </p:nvSpPr>
        <p:spPr>
          <a:xfrm>
            <a:off x="0" y="-3"/>
            <a:ext cx="7086600" cy="687720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4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55385" y="6269943"/>
            <a:ext cx="182216" cy="17281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 9" descr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7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73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4727273" y="1828800"/>
            <a:ext cx="6611288" cy="4351338"/>
          </a:xfrm>
          <a:prstGeom prst="rect">
            <a:avLst/>
          </a:prstGeom>
        </p:spPr>
        <p:txBody>
          <a:bodyPr/>
          <a:lstStyle>
            <a:lvl1pPr>
              <a:spcBef>
                <a:spcPts val="800"/>
              </a:spcBef>
              <a:tabLst>
                <a:tab pos="444500" algn="l"/>
              </a:tabLst>
              <a:defRPr sz="2600" b="0"/>
            </a:lvl1pPr>
            <a:lvl2pPr>
              <a:spcBef>
                <a:spcPts val="800"/>
              </a:spcBef>
              <a:tabLst>
                <a:tab pos="444500" algn="l"/>
              </a:tabLst>
              <a:defRPr sz="2600" b="0"/>
            </a:lvl2pPr>
            <a:lvl3pPr>
              <a:spcBef>
                <a:spcPts val="800"/>
              </a:spcBef>
              <a:tabLst>
                <a:tab pos="444500" algn="l"/>
              </a:tabLst>
              <a:defRPr sz="2600" b="0"/>
            </a:lvl3pPr>
            <a:lvl4pPr>
              <a:spcBef>
                <a:spcPts val="800"/>
              </a:spcBef>
              <a:tabLst>
                <a:tab pos="444500" algn="l"/>
              </a:tabLst>
              <a:defRPr sz="2600" b="0"/>
            </a:lvl4pPr>
            <a:lvl5pPr>
              <a:spcBef>
                <a:spcPts val="800"/>
              </a:spcBef>
              <a:tabLst>
                <a:tab pos="444500" algn="l"/>
              </a:tabLst>
              <a:defRPr sz="2600" b="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pic>
        <p:nvPicPr>
          <p:cNvPr id="74" name="Image 8" descr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75" name="Connecteur droit 9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76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55385" y="6269943"/>
            <a:ext cx="182216" cy="17281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84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822960" y="1825625"/>
            <a:ext cx="5181602" cy="4351338"/>
          </a:xfrm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8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93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822960" y="1825625"/>
            <a:ext cx="4114802" cy="435133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 marL="231070" indent="-231070">
              <a:defRPr sz="2000"/>
            </a:lvl3pPr>
            <a:lvl4pPr marL="487713" indent="-257525">
              <a:defRPr sz="2000"/>
            </a:lvl4pPr>
            <a:lvl5pPr>
              <a:defRPr sz="20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9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82CFBE"/>
                </a:solidFill>
              </a:rPr>
              <a:pPr/>
              <a:t>‹#›</a:t>
            </a:fld>
            <a:endParaRPr>
              <a:solidFill>
                <a:srgbClr val="82CFBE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32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slideLayout" Target="../slideLayouts/slideLayout7.xml"/><Relationship Id="rId5" Type="http://schemas.openxmlformats.org/officeDocument/2006/relationships/slideLayout" Target="../slideLayouts/slideLayout8.xml"/><Relationship Id="rId30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35.xml"/><Relationship Id="rId9" Type="http://schemas.openxmlformats.org/officeDocument/2006/relationships/slideLayout" Target="../slideLayouts/slideLayout12.xml"/><Relationship Id="rId6" Type="http://schemas.openxmlformats.org/officeDocument/2006/relationships/slideLayout" Target="../slideLayouts/slideLayout9.xml"/><Relationship Id="rId7" Type="http://schemas.openxmlformats.org/officeDocument/2006/relationships/slideLayout" Target="../slideLayouts/slideLayout10.xml"/><Relationship Id="rId8" Type="http://schemas.openxmlformats.org/officeDocument/2006/relationships/slideLayout" Target="../slideLayouts/slideLayout11.xml"/><Relationship Id="rId33" Type="http://schemas.openxmlformats.org/officeDocument/2006/relationships/theme" Target="../theme/theme2.xml"/><Relationship Id="rId10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theme" Target="../theme/theme3.xml"/><Relationship Id="rId11" Type="http://schemas.openxmlformats.org/officeDocument/2006/relationships/image" Target="../media/image2.png"/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8.xml"/><Relationship Id="rId5" Type="http://schemas.openxmlformats.org/officeDocument/2006/relationships/theme" Target="../theme/theme4.xml"/><Relationship Id="rId1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72.xml"/><Relationship Id="rId25" Type="http://schemas.openxmlformats.org/officeDocument/2006/relationships/theme" Target="../theme/theme5.xml"/><Relationship Id="rId26" Type="http://schemas.openxmlformats.org/officeDocument/2006/relationships/image" Target="../media/image3.png"/><Relationship Id="rId27" Type="http://schemas.openxmlformats.org/officeDocument/2006/relationships/image" Target="../media/image2.png"/><Relationship Id="rId10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49.xml"/><Relationship Id="rId2" Type="http://schemas.openxmlformats.org/officeDocument/2006/relationships/slideLayout" Target="../slideLayouts/slideLayout50.xml"/><Relationship Id="rId3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5.xml"/><Relationship Id="rId8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6.xml"/><Relationship Id="rId5" Type="http://schemas.openxmlformats.org/officeDocument/2006/relationships/theme" Target="../theme/theme6.xml"/><Relationship Id="rId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5.xml"/><Relationship Id="rId20" Type="http://schemas.openxmlformats.org/officeDocument/2006/relationships/oleObject" Target="../embeddings/oleObject1.bin"/><Relationship Id="rId21" Type="http://schemas.openxmlformats.org/officeDocument/2006/relationships/image" Target="../media/image10.emf"/><Relationship Id="rId22" Type="http://schemas.openxmlformats.org/officeDocument/2006/relationships/image" Target="../media/image11.png"/><Relationship Id="rId10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91.xml"/><Relationship Id="rId16" Type="http://schemas.openxmlformats.org/officeDocument/2006/relationships/theme" Target="../theme/theme7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tags" Target="../tags/tag2.xml"/><Relationship Id="rId1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9.xml"/><Relationship Id="rId4" Type="http://schemas.openxmlformats.org/officeDocument/2006/relationships/slideLayout" Target="../slideLayouts/slideLayout80.xml"/><Relationship Id="rId5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3.xml"/><Relationship Id="rId8" Type="http://schemas.openxmlformats.org/officeDocument/2006/relationships/slideLayout" Target="../slideLayouts/slideLayout8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16.xml"/><Relationship Id="rId26" Type="http://schemas.openxmlformats.org/officeDocument/2006/relationships/theme" Target="../theme/theme8.xml"/><Relationship Id="rId27" Type="http://schemas.openxmlformats.org/officeDocument/2006/relationships/image" Target="../media/image3.png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3.xml"/><Relationship Id="rId3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6.xml"/><Relationship Id="rId6" Type="http://schemas.openxmlformats.org/officeDocument/2006/relationships/slideLayout" Target="../slideLayouts/slideLayout97.xml"/><Relationship Id="rId7" Type="http://schemas.openxmlformats.org/officeDocument/2006/relationships/slideLayout" Target="../slideLayouts/slideLayout98.xml"/><Relationship Id="rId8" Type="http://schemas.openxmlformats.org/officeDocument/2006/relationships/slideLayout" Target="../slideLayouts/slideLayout9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3.xml"/><Relationship Id="rId8" Type="http://schemas.openxmlformats.org/officeDocument/2006/relationships/slideLayout" Target="../slideLayouts/slideLayout124.xml"/><Relationship Id="rId9" Type="http://schemas.openxmlformats.org/officeDocument/2006/relationships/theme" Target="../theme/theme9.xml"/><Relationship Id="rId10" Type="http://schemas.openxmlformats.org/officeDocument/2006/relationships/image" Target="../media/image16.png"/><Relationship Id="rId1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1939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63" r:id="rId3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5F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152000" y="291224"/>
            <a:ext cx="105264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Work Sans"/>
              <a:buNone/>
              <a:defRPr sz="3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Work Sans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Work Sans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Work Sans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Work Sans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Work Sans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Work Sans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Work Sans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Work Sans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152000" y="2001600"/>
            <a:ext cx="10526400" cy="42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Work Sans"/>
              <a:buChar char="•"/>
              <a:defRPr sz="12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295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Work Sans"/>
              <a:buChar char="•"/>
              <a:defRPr sz="105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295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Work Sans"/>
              <a:buChar char="•"/>
              <a:defRPr sz="105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295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Work Sans"/>
              <a:buChar char="•"/>
              <a:defRPr sz="105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295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Work Sans"/>
              <a:buChar char="•"/>
              <a:defRPr sz="105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295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Work Sans"/>
              <a:buChar char="•"/>
              <a:defRPr sz="105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295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Work Sans"/>
              <a:buChar char="•"/>
              <a:defRPr sz="105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295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Work Sans"/>
              <a:buChar char="•"/>
              <a:defRPr sz="105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295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Work Sans"/>
              <a:buChar char="•"/>
              <a:defRPr sz="105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0" y="6355200"/>
            <a:ext cx="633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9pPr>
          </a:lstStyle>
          <a:p>
            <a:pPr latinLnBrk="0"/>
            <a:fld id="{00000000-1234-1234-1234-123412341234}" type="slidenum">
              <a:rPr lang="fr" kern="0">
                <a:solidFill>
                  <a:srgbClr val="662E7D"/>
                </a:solidFill>
              </a:rPr>
              <a:pPr latinLnBrk="0"/>
              <a:t>‹#›</a:t>
            </a:fld>
            <a:endParaRPr kern="0">
              <a:solidFill>
                <a:srgbClr val="662E7D"/>
              </a:solidFill>
            </a:endParaRPr>
          </a:p>
        </p:txBody>
      </p:sp>
      <p:grpSp>
        <p:nvGrpSpPr>
          <p:cNvPr id="9" name="Google Shape;9;p1"/>
          <p:cNvGrpSpPr/>
          <p:nvPr/>
        </p:nvGrpSpPr>
        <p:grpSpPr>
          <a:xfrm>
            <a:off x="10867191" y="6504101"/>
            <a:ext cx="681344" cy="200731"/>
            <a:chOff x="249750" y="1780450"/>
            <a:chExt cx="7107200" cy="2090950"/>
          </a:xfrm>
        </p:grpSpPr>
        <p:sp>
          <p:nvSpPr>
            <p:cNvPr id="10" name="Google Shape;10;p1"/>
            <p:cNvSpPr/>
            <p:nvPr/>
          </p:nvSpPr>
          <p:spPr>
            <a:xfrm>
              <a:off x="2699700" y="1798725"/>
              <a:ext cx="1974600" cy="2036100"/>
            </a:xfrm>
            <a:custGeom>
              <a:avLst/>
              <a:gdLst/>
              <a:ahLst/>
              <a:cxnLst/>
              <a:rect l="l" t="t" r="r" b="b"/>
              <a:pathLst>
                <a:path w="78984" h="81444" extrusionOk="0">
                  <a:moveTo>
                    <a:pt x="1530" y="1"/>
                  </a:moveTo>
                  <a:cubicBezTo>
                    <a:pt x="665" y="1"/>
                    <a:pt x="0" y="732"/>
                    <a:pt x="0" y="1596"/>
                  </a:cubicBezTo>
                  <a:lnTo>
                    <a:pt x="0" y="79915"/>
                  </a:lnTo>
                  <a:cubicBezTo>
                    <a:pt x="0" y="80779"/>
                    <a:pt x="665" y="81444"/>
                    <a:pt x="1530" y="81444"/>
                  </a:cubicBezTo>
                  <a:lnTo>
                    <a:pt x="10438" y="81444"/>
                  </a:lnTo>
                  <a:cubicBezTo>
                    <a:pt x="11236" y="81444"/>
                    <a:pt x="11968" y="80779"/>
                    <a:pt x="11968" y="79915"/>
                  </a:cubicBezTo>
                  <a:lnTo>
                    <a:pt x="11968" y="30849"/>
                  </a:lnTo>
                  <a:cubicBezTo>
                    <a:pt x="11968" y="30535"/>
                    <a:pt x="12223" y="30337"/>
                    <a:pt x="12473" y="30337"/>
                  </a:cubicBezTo>
                  <a:cubicBezTo>
                    <a:pt x="12646" y="30337"/>
                    <a:pt x="12817" y="30432"/>
                    <a:pt x="12898" y="30650"/>
                  </a:cubicBezTo>
                  <a:lnTo>
                    <a:pt x="32777" y="80048"/>
                  </a:lnTo>
                  <a:cubicBezTo>
                    <a:pt x="33110" y="80912"/>
                    <a:pt x="33974" y="81444"/>
                    <a:pt x="34838" y="81444"/>
                  </a:cubicBezTo>
                  <a:lnTo>
                    <a:pt x="43681" y="81444"/>
                  </a:lnTo>
                  <a:cubicBezTo>
                    <a:pt x="44611" y="81444"/>
                    <a:pt x="45409" y="80912"/>
                    <a:pt x="45742" y="80048"/>
                  </a:cubicBezTo>
                  <a:lnTo>
                    <a:pt x="65687" y="30450"/>
                  </a:lnTo>
                  <a:cubicBezTo>
                    <a:pt x="65772" y="30223"/>
                    <a:pt x="65955" y="30117"/>
                    <a:pt x="66136" y="30117"/>
                  </a:cubicBezTo>
                  <a:cubicBezTo>
                    <a:pt x="66378" y="30117"/>
                    <a:pt x="66618" y="30307"/>
                    <a:pt x="66618" y="30650"/>
                  </a:cubicBezTo>
                  <a:lnTo>
                    <a:pt x="66618" y="79915"/>
                  </a:lnTo>
                  <a:cubicBezTo>
                    <a:pt x="66618" y="80779"/>
                    <a:pt x="67349" y="81444"/>
                    <a:pt x="68213" y="81444"/>
                  </a:cubicBezTo>
                  <a:lnTo>
                    <a:pt x="77388" y="81444"/>
                  </a:lnTo>
                  <a:cubicBezTo>
                    <a:pt x="78253" y="81444"/>
                    <a:pt x="78984" y="80779"/>
                    <a:pt x="78984" y="79915"/>
                  </a:cubicBezTo>
                  <a:lnTo>
                    <a:pt x="78984" y="1596"/>
                  </a:lnTo>
                  <a:cubicBezTo>
                    <a:pt x="78984" y="732"/>
                    <a:pt x="78253" y="67"/>
                    <a:pt x="77455" y="1"/>
                  </a:cubicBezTo>
                  <a:lnTo>
                    <a:pt x="67881" y="67"/>
                  </a:lnTo>
                  <a:cubicBezTo>
                    <a:pt x="67835" y="63"/>
                    <a:pt x="67788" y="61"/>
                    <a:pt x="67743" y="61"/>
                  </a:cubicBezTo>
                  <a:cubicBezTo>
                    <a:pt x="67067" y="61"/>
                    <a:pt x="66464" y="512"/>
                    <a:pt x="66152" y="1197"/>
                  </a:cubicBezTo>
                  <a:lnTo>
                    <a:pt x="39825" y="65687"/>
                  </a:lnTo>
                  <a:cubicBezTo>
                    <a:pt x="39725" y="65920"/>
                    <a:pt x="39509" y="66036"/>
                    <a:pt x="39301" y="66036"/>
                  </a:cubicBezTo>
                  <a:cubicBezTo>
                    <a:pt x="39093" y="66036"/>
                    <a:pt x="38894" y="65920"/>
                    <a:pt x="38827" y="65687"/>
                  </a:cubicBezTo>
                  <a:lnTo>
                    <a:pt x="12433" y="1197"/>
                  </a:lnTo>
                  <a:cubicBezTo>
                    <a:pt x="12167" y="466"/>
                    <a:pt x="11436" y="1"/>
                    <a:pt x="1070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1" name="Google Shape;11;p1"/>
            <p:cNvSpPr/>
            <p:nvPr/>
          </p:nvSpPr>
          <p:spPr>
            <a:xfrm>
              <a:off x="4921950" y="1780450"/>
              <a:ext cx="393925" cy="2054375"/>
            </a:xfrm>
            <a:custGeom>
              <a:avLst/>
              <a:gdLst/>
              <a:ahLst/>
              <a:cxnLst/>
              <a:rect l="l" t="t" r="r" b="b"/>
              <a:pathLst>
                <a:path w="15757" h="82175" extrusionOk="0">
                  <a:moveTo>
                    <a:pt x="7978" y="0"/>
                  </a:moveTo>
                  <a:cubicBezTo>
                    <a:pt x="5718" y="0"/>
                    <a:pt x="3856" y="732"/>
                    <a:pt x="2327" y="2261"/>
                  </a:cubicBezTo>
                  <a:cubicBezTo>
                    <a:pt x="798" y="3790"/>
                    <a:pt x="0" y="5651"/>
                    <a:pt x="0" y="7912"/>
                  </a:cubicBezTo>
                  <a:cubicBezTo>
                    <a:pt x="0" y="10106"/>
                    <a:pt x="798" y="11967"/>
                    <a:pt x="2327" y="13497"/>
                  </a:cubicBezTo>
                  <a:cubicBezTo>
                    <a:pt x="3856" y="15026"/>
                    <a:pt x="5718" y="15824"/>
                    <a:pt x="7978" y="15824"/>
                  </a:cubicBezTo>
                  <a:cubicBezTo>
                    <a:pt x="10106" y="15824"/>
                    <a:pt x="11967" y="15026"/>
                    <a:pt x="13496" y="13430"/>
                  </a:cubicBezTo>
                  <a:cubicBezTo>
                    <a:pt x="15026" y="11901"/>
                    <a:pt x="15757" y="10039"/>
                    <a:pt x="15757" y="7912"/>
                  </a:cubicBezTo>
                  <a:cubicBezTo>
                    <a:pt x="15757" y="5651"/>
                    <a:pt x="15026" y="3790"/>
                    <a:pt x="13496" y="2261"/>
                  </a:cubicBezTo>
                  <a:cubicBezTo>
                    <a:pt x="11967" y="732"/>
                    <a:pt x="10106" y="0"/>
                    <a:pt x="7978" y="0"/>
                  </a:cubicBezTo>
                  <a:close/>
                  <a:moveTo>
                    <a:pt x="3524" y="27192"/>
                  </a:moveTo>
                  <a:cubicBezTo>
                    <a:pt x="2659" y="27192"/>
                    <a:pt x="1995" y="27857"/>
                    <a:pt x="1995" y="28721"/>
                  </a:cubicBezTo>
                  <a:lnTo>
                    <a:pt x="1995" y="80646"/>
                  </a:lnTo>
                  <a:cubicBezTo>
                    <a:pt x="1995" y="81510"/>
                    <a:pt x="2659" y="82175"/>
                    <a:pt x="3524" y="82175"/>
                  </a:cubicBezTo>
                  <a:lnTo>
                    <a:pt x="12366" y="82175"/>
                  </a:lnTo>
                  <a:cubicBezTo>
                    <a:pt x="13230" y="82175"/>
                    <a:pt x="13895" y="81510"/>
                    <a:pt x="13895" y="80646"/>
                  </a:cubicBezTo>
                  <a:lnTo>
                    <a:pt x="13895" y="28721"/>
                  </a:lnTo>
                  <a:cubicBezTo>
                    <a:pt x="13895" y="27857"/>
                    <a:pt x="13230" y="27192"/>
                    <a:pt x="12366" y="27192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2" name="Google Shape;12;p1"/>
            <p:cNvSpPr/>
            <p:nvPr/>
          </p:nvSpPr>
          <p:spPr>
            <a:xfrm>
              <a:off x="5568500" y="1798725"/>
              <a:ext cx="295875" cy="2036100"/>
            </a:xfrm>
            <a:custGeom>
              <a:avLst/>
              <a:gdLst/>
              <a:ahLst/>
              <a:cxnLst/>
              <a:rect l="l" t="t" r="r" b="b"/>
              <a:pathLst>
                <a:path w="11835" h="81444" extrusionOk="0">
                  <a:moveTo>
                    <a:pt x="1530" y="1"/>
                  </a:moveTo>
                  <a:cubicBezTo>
                    <a:pt x="665" y="1"/>
                    <a:pt x="1" y="732"/>
                    <a:pt x="1" y="1596"/>
                  </a:cubicBezTo>
                  <a:lnTo>
                    <a:pt x="1" y="79915"/>
                  </a:lnTo>
                  <a:cubicBezTo>
                    <a:pt x="1" y="80779"/>
                    <a:pt x="665" y="81444"/>
                    <a:pt x="1530" y="81444"/>
                  </a:cubicBezTo>
                  <a:lnTo>
                    <a:pt x="10306" y="81444"/>
                  </a:lnTo>
                  <a:cubicBezTo>
                    <a:pt x="11170" y="81444"/>
                    <a:pt x="11835" y="80779"/>
                    <a:pt x="11835" y="79915"/>
                  </a:cubicBezTo>
                  <a:lnTo>
                    <a:pt x="11835" y="1596"/>
                  </a:lnTo>
                  <a:cubicBezTo>
                    <a:pt x="11835" y="732"/>
                    <a:pt x="11170" y="1"/>
                    <a:pt x="1030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3" name="Google Shape;13;p1"/>
            <p:cNvSpPr/>
            <p:nvPr/>
          </p:nvSpPr>
          <p:spPr>
            <a:xfrm>
              <a:off x="6115325" y="2422000"/>
              <a:ext cx="1241625" cy="1449400"/>
            </a:xfrm>
            <a:custGeom>
              <a:avLst/>
              <a:gdLst/>
              <a:ahLst/>
              <a:cxnLst/>
              <a:rect l="l" t="t" r="r" b="b"/>
              <a:pathLst>
                <a:path w="49665" h="57976" extrusionOk="0">
                  <a:moveTo>
                    <a:pt x="37299" y="31448"/>
                  </a:moveTo>
                  <a:lnTo>
                    <a:pt x="37299" y="32778"/>
                  </a:lnTo>
                  <a:cubicBezTo>
                    <a:pt x="37299" y="38097"/>
                    <a:pt x="35902" y="42086"/>
                    <a:pt x="33110" y="44745"/>
                  </a:cubicBezTo>
                  <a:cubicBezTo>
                    <a:pt x="30318" y="47471"/>
                    <a:pt x="26927" y="48801"/>
                    <a:pt x="22805" y="48801"/>
                  </a:cubicBezTo>
                  <a:cubicBezTo>
                    <a:pt x="19481" y="48801"/>
                    <a:pt x="16821" y="48136"/>
                    <a:pt x="14893" y="46607"/>
                  </a:cubicBezTo>
                  <a:cubicBezTo>
                    <a:pt x="13032" y="45144"/>
                    <a:pt x="12101" y="43016"/>
                    <a:pt x="12101" y="40158"/>
                  </a:cubicBezTo>
                  <a:cubicBezTo>
                    <a:pt x="12101" y="37365"/>
                    <a:pt x="13032" y="35238"/>
                    <a:pt x="14827" y="33709"/>
                  </a:cubicBezTo>
                  <a:cubicBezTo>
                    <a:pt x="16622" y="32179"/>
                    <a:pt x="19215" y="31448"/>
                    <a:pt x="22672" y="31448"/>
                  </a:cubicBezTo>
                  <a:close/>
                  <a:moveTo>
                    <a:pt x="25256" y="0"/>
                  </a:moveTo>
                  <a:cubicBezTo>
                    <a:pt x="14565" y="0"/>
                    <a:pt x="7009" y="3857"/>
                    <a:pt x="2461" y="11569"/>
                  </a:cubicBezTo>
                  <a:cubicBezTo>
                    <a:pt x="2062" y="12301"/>
                    <a:pt x="2328" y="13298"/>
                    <a:pt x="3126" y="13697"/>
                  </a:cubicBezTo>
                  <a:lnTo>
                    <a:pt x="9109" y="17154"/>
                  </a:lnTo>
                  <a:cubicBezTo>
                    <a:pt x="9357" y="17312"/>
                    <a:pt x="9628" y="17386"/>
                    <a:pt x="9896" y="17386"/>
                  </a:cubicBezTo>
                  <a:cubicBezTo>
                    <a:pt x="10418" y="17386"/>
                    <a:pt x="10929" y="17106"/>
                    <a:pt x="11237" y="16622"/>
                  </a:cubicBezTo>
                  <a:cubicBezTo>
                    <a:pt x="14096" y="12035"/>
                    <a:pt x="18683" y="9708"/>
                    <a:pt x="24933" y="9708"/>
                  </a:cubicBezTo>
                  <a:cubicBezTo>
                    <a:pt x="33177" y="9708"/>
                    <a:pt x="37299" y="13431"/>
                    <a:pt x="37299" y="20944"/>
                  </a:cubicBezTo>
                  <a:lnTo>
                    <a:pt x="37299" y="23071"/>
                  </a:lnTo>
                  <a:lnTo>
                    <a:pt x="20013" y="23071"/>
                  </a:lnTo>
                  <a:cubicBezTo>
                    <a:pt x="13896" y="23071"/>
                    <a:pt x="9043" y="24600"/>
                    <a:pt x="5386" y="27659"/>
                  </a:cubicBezTo>
                  <a:cubicBezTo>
                    <a:pt x="1796" y="30717"/>
                    <a:pt x="1" y="34905"/>
                    <a:pt x="1" y="40291"/>
                  </a:cubicBezTo>
                  <a:cubicBezTo>
                    <a:pt x="1" y="45742"/>
                    <a:pt x="1796" y="50064"/>
                    <a:pt x="5453" y="53255"/>
                  </a:cubicBezTo>
                  <a:cubicBezTo>
                    <a:pt x="9109" y="56446"/>
                    <a:pt x="13963" y="57975"/>
                    <a:pt x="19880" y="57975"/>
                  </a:cubicBezTo>
                  <a:cubicBezTo>
                    <a:pt x="23935" y="57975"/>
                    <a:pt x="27525" y="57244"/>
                    <a:pt x="30584" y="55715"/>
                  </a:cubicBezTo>
                  <a:cubicBezTo>
                    <a:pt x="33642" y="54186"/>
                    <a:pt x="35902" y="52125"/>
                    <a:pt x="37498" y="49665"/>
                  </a:cubicBezTo>
                  <a:cubicBezTo>
                    <a:pt x="37698" y="52125"/>
                    <a:pt x="37897" y="54053"/>
                    <a:pt x="38163" y="55515"/>
                  </a:cubicBezTo>
                  <a:cubicBezTo>
                    <a:pt x="38296" y="56114"/>
                    <a:pt x="38828" y="56513"/>
                    <a:pt x="39426" y="56513"/>
                  </a:cubicBezTo>
                  <a:lnTo>
                    <a:pt x="48335" y="56513"/>
                  </a:lnTo>
                  <a:cubicBezTo>
                    <a:pt x="49133" y="56513"/>
                    <a:pt x="49665" y="55848"/>
                    <a:pt x="49532" y="55050"/>
                  </a:cubicBezTo>
                  <a:cubicBezTo>
                    <a:pt x="49133" y="52923"/>
                    <a:pt x="48933" y="49532"/>
                    <a:pt x="48933" y="44745"/>
                  </a:cubicBezTo>
                  <a:lnTo>
                    <a:pt x="48933" y="22207"/>
                  </a:lnTo>
                  <a:cubicBezTo>
                    <a:pt x="48933" y="14428"/>
                    <a:pt x="46739" y="8711"/>
                    <a:pt x="42351" y="5253"/>
                  </a:cubicBezTo>
                  <a:cubicBezTo>
                    <a:pt x="38030" y="1730"/>
                    <a:pt x="32379" y="1"/>
                    <a:pt x="25531" y="1"/>
                  </a:cubicBezTo>
                  <a:cubicBezTo>
                    <a:pt x="25439" y="1"/>
                    <a:pt x="25347" y="0"/>
                    <a:pt x="25256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4" name="Google Shape;14;p1"/>
            <p:cNvSpPr/>
            <p:nvPr/>
          </p:nvSpPr>
          <p:spPr>
            <a:xfrm>
              <a:off x="1670850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5" name="Google Shape;15;p1"/>
            <p:cNvSpPr/>
            <p:nvPr/>
          </p:nvSpPr>
          <p:spPr>
            <a:xfrm>
              <a:off x="2230975" y="27644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1" y="4921"/>
                  </a:cubicBezTo>
                  <a:cubicBezTo>
                    <a:pt x="3857" y="4921"/>
                    <a:pt x="4921" y="3790"/>
                    <a:pt x="4921" y="2461"/>
                  </a:cubicBezTo>
                  <a:cubicBezTo>
                    <a:pt x="4921" y="1131"/>
                    <a:pt x="3857" y="1"/>
                    <a:pt x="24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6" name="Google Shape;16;p1"/>
            <p:cNvSpPr/>
            <p:nvPr/>
          </p:nvSpPr>
          <p:spPr>
            <a:xfrm>
              <a:off x="1950075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7" name="Google Shape;17;p1"/>
            <p:cNvSpPr/>
            <p:nvPr/>
          </p:nvSpPr>
          <p:spPr>
            <a:xfrm>
              <a:off x="1389950" y="228905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8" name="Google Shape;18;p1"/>
            <p:cNvSpPr/>
            <p:nvPr/>
          </p:nvSpPr>
          <p:spPr>
            <a:xfrm>
              <a:off x="1670850" y="18170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857"/>
                    <a:pt x="1131" y="4921"/>
                    <a:pt x="2460" y="4921"/>
                  </a:cubicBezTo>
                  <a:cubicBezTo>
                    <a:pt x="3857" y="4921"/>
                    <a:pt x="4920" y="3857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19" name="Google Shape;19;p1"/>
            <p:cNvSpPr/>
            <p:nvPr/>
          </p:nvSpPr>
          <p:spPr>
            <a:xfrm>
              <a:off x="1459775" y="18635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1"/>
                  </a:moveTo>
                  <a:cubicBezTo>
                    <a:pt x="266" y="1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1"/>
                    <a:pt x="6648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0" name="Google Shape;20;p1"/>
            <p:cNvSpPr/>
            <p:nvPr/>
          </p:nvSpPr>
          <p:spPr>
            <a:xfrm>
              <a:off x="1770575" y="2428725"/>
              <a:ext cx="204475" cy="319100"/>
            </a:xfrm>
            <a:custGeom>
              <a:avLst/>
              <a:gdLst/>
              <a:ahLst/>
              <a:cxnLst/>
              <a:rect l="l" t="t" r="r" b="b"/>
              <a:pathLst>
                <a:path w="8179" h="12764" extrusionOk="0">
                  <a:moveTo>
                    <a:pt x="7513" y="0"/>
                  </a:moveTo>
                  <a:cubicBezTo>
                    <a:pt x="7316" y="0"/>
                    <a:pt x="7118" y="103"/>
                    <a:pt x="6981" y="331"/>
                  </a:cubicBezTo>
                  <a:lnTo>
                    <a:pt x="200" y="11832"/>
                  </a:lnTo>
                  <a:cubicBezTo>
                    <a:pt x="1" y="12098"/>
                    <a:pt x="134" y="12497"/>
                    <a:pt x="400" y="12630"/>
                  </a:cubicBezTo>
                  <a:cubicBezTo>
                    <a:pt x="466" y="12697"/>
                    <a:pt x="599" y="12763"/>
                    <a:pt x="665" y="12763"/>
                  </a:cubicBezTo>
                  <a:cubicBezTo>
                    <a:pt x="865" y="12763"/>
                    <a:pt x="1064" y="12630"/>
                    <a:pt x="1197" y="12431"/>
                  </a:cubicBezTo>
                  <a:lnTo>
                    <a:pt x="7979" y="929"/>
                  </a:lnTo>
                  <a:cubicBezTo>
                    <a:pt x="8178" y="596"/>
                    <a:pt x="8112" y="264"/>
                    <a:pt x="7779" y="65"/>
                  </a:cubicBezTo>
                  <a:cubicBezTo>
                    <a:pt x="7695" y="22"/>
                    <a:pt x="7604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1" name="Google Shape;21;p1"/>
            <p:cNvSpPr/>
            <p:nvPr/>
          </p:nvSpPr>
          <p:spPr>
            <a:xfrm>
              <a:off x="1489675" y="1955900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550" y="0"/>
                  </a:moveTo>
                  <a:cubicBezTo>
                    <a:pt x="7344" y="0"/>
                    <a:pt x="7137" y="118"/>
                    <a:pt x="7048" y="296"/>
                  </a:cubicBezTo>
                  <a:lnTo>
                    <a:pt x="200" y="11930"/>
                  </a:lnTo>
                  <a:cubicBezTo>
                    <a:pt x="1" y="12196"/>
                    <a:pt x="134" y="12529"/>
                    <a:pt x="400" y="12728"/>
                  </a:cubicBezTo>
                  <a:cubicBezTo>
                    <a:pt x="533" y="12795"/>
                    <a:pt x="599" y="12795"/>
                    <a:pt x="732" y="12795"/>
                  </a:cubicBezTo>
                  <a:cubicBezTo>
                    <a:pt x="932" y="12795"/>
                    <a:pt x="1131" y="12662"/>
                    <a:pt x="1197" y="12529"/>
                  </a:cubicBezTo>
                  <a:lnTo>
                    <a:pt x="8045" y="894"/>
                  </a:lnTo>
                  <a:cubicBezTo>
                    <a:pt x="8245" y="628"/>
                    <a:pt x="8112" y="229"/>
                    <a:pt x="7846" y="96"/>
                  </a:cubicBezTo>
                  <a:cubicBezTo>
                    <a:pt x="7757" y="30"/>
                    <a:pt x="7654" y="0"/>
                    <a:pt x="755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2" name="Google Shape;22;p1"/>
            <p:cNvSpPr/>
            <p:nvPr/>
          </p:nvSpPr>
          <p:spPr>
            <a:xfrm>
              <a:off x="1283575" y="2427050"/>
              <a:ext cx="133000" cy="197775"/>
            </a:xfrm>
            <a:custGeom>
              <a:avLst/>
              <a:gdLst/>
              <a:ahLst/>
              <a:cxnLst/>
              <a:rect l="l" t="t" r="r" b="b"/>
              <a:pathLst>
                <a:path w="5320" h="7911" extrusionOk="0">
                  <a:moveTo>
                    <a:pt x="4654" y="1"/>
                  </a:moveTo>
                  <a:cubicBezTo>
                    <a:pt x="4457" y="1"/>
                    <a:pt x="4259" y="104"/>
                    <a:pt x="4123" y="331"/>
                  </a:cubicBezTo>
                  <a:lnTo>
                    <a:pt x="200" y="6979"/>
                  </a:lnTo>
                  <a:cubicBezTo>
                    <a:pt x="1" y="7245"/>
                    <a:pt x="134" y="7644"/>
                    <a:pt x="400" y="7777"/>
                  </a:cubicBezTo>
                  <a:cubicBezTo>
                    <a:pt x="466" y="7844"/>
                    <a:pt x="599" y="7910"/>
                    <a:pt x="666" y="7910"/>
                  </a:cubicBezTo>
                  <a:cubicBezTo>
                    <a:pt x="865" y="7910"/>
                    <a:pt x="1064" y="7777"/>
                    <a:pt x="1197" y="7578"/>
                  </a:cubicBezTo>
                  <a:lnTo>
                    <a:pt x="5120" y="929"/>
                  </a:lnTo>
                  <a:cubicBezTo>
                    <a:pt x="5319" y="597"/>
                    <a:pt x="5253" y="265"/>
                    <a:pt x="4921" y="65"/>
                  </a:cubicBezTo>
                  <a:cubicBezTo>
                    <a:pt x="4836" y="23"/>
                    <a:pt x="4745" y="1"/>
                    <a:pt x="465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3" name="Google Shape;23;p1"/>
            <p:cNvSpPr/>
            <p:nvPr/>
          </p:nvSpPr>
          <p:spPr>
            <a:xfrm>
              <a:off x="1770575" y="1957550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695" y="1"/>
                  </a:moveTo>
                  <a:cubicBezTo>
                    <a:pt x="592" y="1"/>
                    <a:pt x="488" y="30"/>
                    <a:pt x="400" y="97"/>
                  </a:cubicBezTo>
                  <a:cubicBezTo>
                    <a:pt x="134" y="230"/>
                    <a:pt x="1" y="628"/>
                    <a:pt x="200" y="894"/>
                  </a:cubicBezTo>
                  <a:lnTo>
                    <a:pt x="6981" y="12463"/>
                  </a:lnTo>
                  <a:cubicBezTo>
                    <a:pt x="7114" y="12596"/>
                    <a:pt x="7314" y="12729"/>
                    <a:pt x="7513" y="12729"/>
                  </a:cubicBezTo>
                  <a:cubicBezTo>
                    <a:pt x="7580" y="12729"/>
                    <a:pt x="7713" y="12729"/>
                    <a:pt x="7779" y="12662"/>
                  </a:cubicBezTo>
                  <a:cubicBezTo>
                    <a:pt x="8112" y="12463"/>
                    <a:pt x="8178" y="12130"/>
                    <a:pt x="8045" y="11864"/>
                  </a:cubicBezTo>
                  <a:lnTo>
                    <a:pt x="1197" y="296"/>
                  </a:lnTo>
                  <a:cubicBezTo>
                    <a:pt x="1109" y="119"/>
                    <a:pt x="902" y="1"/>
                    <a:pt x="695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4" name="Google Shape;24;p1"/>
            <p:cNvSpPr/>
            <p:nvPr/>
          </p:nvSpPr>
          <p:spPr>
            <a:xfrm>
              <a:off x="1338425" y="2170300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661" y="1"/>
                  </a:moveTo>
                  <a:cubicBezTo>
                    <a:pt x="555" y="1"/>
                    <a:pt x="444" y="30"/>
                    <a:pt x="333" y="97"/>
                  </a:cubicBezTo>
                  <a:cubicBezTo>
                    <a:pt x="67" y="230"/>
                    <a:pt x="1" y="628"/>
                    <a:pt x="134" y="894"/>
                  </a:cubicBezTo>
                  <a:lnTo>
                    <a:pt x="1929" y="3953"/>
                  </a:lnTo>
                  <a:cubicBezTo>
                    <a:pt x="2062" y="4086"/>
                    <a:pt x="2261" y="4219"/>
                    <a:pt x="2461" y="4219"/>
                  </a:cubicBezTo>
                  <a:cubicBezTo>
                    <a:pt x="2527" y="4219"/>
                    <a:pt x="2660" y="4219"/>
                    <a:pt x="2727" y="4152"/>
                  </a:cubicBezTo>
                  <a:cubicBezTo>
                    <a:pt x="3059" y="3953"/>
                    <a:pt x="3125" y="3620"/>
                    <a:pt x="2926" y="3354"/>
                  </a:cubicBezTo>
                  <a:lnTo>
                    <a:pt x="1197" y="296"/>
                  </a:lnTo>
                  <a:cubicBezTo>
                    <a:pt x="1064" y="119"/>
                    <a:pt x="872" y="1"/>
                    <a:pt x="661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5" name="Google Shape;25;p1"/>
            <p:cNvSpPr/>
            <p:nvPr/>
          </p:nvSpPr>
          <p:spPr>
            <a:xfrm>
              <a:off x="1489675" y="2427050"/>
              <a:ext cx="206125" cy="320775"/>
            </a:xfrm>
            <a:custGeom>
              <a:avLst/>
              <a:gdLst/>
              <a:ahLst/>
              <a:cxnLst/>
              <a:rect l="l" t="t" r="r" b="b"/>
              <a:pathLst>
                <a:path w="8245" h="12831" extrusionOk="0">
                  <a:moveTo>
                    <a:pt x="680" y="1"/>
                  </a:moveTo>
                  <a:cubicBezTo>
                    <a:pt x="581" y="1"/>
                    <a:pt x="484" y="23"/>
                    <a:pt x="400" y="65"/>
                  </a:cubicBezTo>
                  <a:cubicBezTo>
                    <a:pt x="134" y="265"/>
                    <a:pt x="1" y="597"/>
                    <a:pt x="200" y="929"/>
                  </a:cubicBezTo>
                  <a:lnTo>
                    <a:pt x="7048" y="12498"/>
                  </a:lnTo>
                  <a:cubicBezTo>
                    <a:pt x="7181" y="12697"/>
                    <a:pt x="7381" y="12830"/>
                    <a:pt x="7580" y="12830"/>
                  </a:cubicBezTo>
                  <a:cubicBezTo>
                    <a:pt x="7646" y="12830"/>
                    <a:pt x="7779" y="12764"/>
                    <a:pt x="7846" y="12697"/>
                  </a:cubicBezTo>
                  <a:cubicBezTo>
                    <a:pt x="8112" y="12564"/>
                    <a:pt x="8245" y="12165"/>
                    <a:pt x="8045" y="11899"/>
                  </a:cubicBezTo>
                  <a:lnTo>
                    <a:pt x="1197" y="331"/>
                  </a:lnTo>
                  <a:cubicBezTo>
                    <a:pt x="1107" y="104"/>
                    <a:pt x="892" y="1"/>
                    <a:pt x="68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6" name="Google Shape;26;p1"/>
            <p:cNvSpPr/>
            <p:nvPr/>
          </p:nvSpPr>
          <p:spPr>
            <a:xfrm>
              <a:off x="1542875" y="2335575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7" name="Google Shape;27;p1"/>
            <p:cNvSpPr/>
            <p:nvPr/>
          </p:nvSpPr>
          <p:spPr>
            <a:xfrm>
              <a:off x="2049825" y="2427525"/>
              <a:ext cx="204450" cy="320300"/>
            </a:xfrm>
            <a:custGeom>
              <a:avLst/>
              <a:gdLst/>
              <a:ahLst/>
              <a:cxnLst/>
              <a:rect l="l" t="t" r="r" b="b"/>
              <a:pathLst>
                <a:path w="8178" h="12812" extrusionOk="0">
                  <a:moveTo>
                    <a:pt x="699" y="0"/>
                  </a:moveTo>
                  <a:cubicBezTo>
                    <a:pt x="582" y="0"/>
                    <a:pt x="457" y="38"/>
                    <a:pt x="332" y="113"/>
                  </a:cubicBezTo>
                  <a:cubicBezTo>
                    <a:pt x="66" y="246"/>
                    <a:pt x="0" y="644"/>
                    <a:pt x="133" y="910"/>
                  </a:cubicBezTo>
                  <a:lnTo>
                    <a:pt x="6981" y="12479"/>
                  </a:lnTo>
                  <a:cubicBezTo>
                    <a:pt x="7114" y="12678"/>
                    <a:pt x="7313" y="12811"/>
                    <a:pt x="7513" y="12811"/>
                  </a:cubicBezTo>
                  <a:cubicBezTo>
                    <a:pt x="7579" y="12811"/>
                    <a:pt x="7712" y="12745"/>
                    <a:pt x="7779" y="12678"/>
                  </a:cubicBezTo>
                  <a:cubicBezTo>
                    <a:pt x="8111" y="12545"/>
                    <a:pt x="8178" y="12146"/>
                    <a:pt x="7978" y="11880"/>
                  </a:cubicBezTo>
                  <a:lnTo>
                    <a:pt x="1197" y="312"/>
                  </a:lnTo>
                  <a:cubicBezTo>
                    <a:pt x="1072" y="104"/>
                    <a:pt x="895" y="0"/>
                    <a:pt x="69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8" name="Google Shape;28;p1"/>
            <p:cNvSpPr/>
            <p:nvPr/>
          </p:nvSpPr>
          <p:spPr>
            <a:xfrm>
              <a:off x="1217100" y="2335575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29" name="Google Shape;29;p1"/>
            <p:cNvSpPr/>
            <p:nvPr/>
          </p:nvSpPr>
          <p:spPr>
            <a:xfrm>
              <a:off x="1418200" y="2810950"/>
              <a:ext cx="222750" cy="29950"/>
            </a:xfrm>
            <a:custGeom>
              <a:avLst/>
              <a:gdLst/>
              <a:ahLst/>
              <a:cxnLst/>
              <a:rect l="l" t="t" r="r" b="b"/>
              <a:pathLst>
                <a:path w="8910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8311" y="1197"/>
                  </a:lnTo>
                  <a:cubicBezTo>
                    <a:pt x="8644" y="1197"/>
                    <a:pt x="8910" y="931"/>
                    <a:pt x="8910" y="599"/>
                  </a:cubicBezTo>
                  <a:cubicBezTo>
                    <a:pt x="8910" y="266"/>
                    <a:pt x="8644" y="0"/>
                    <a:pt x="831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0" name="Google Shape;30;p1"/>
            <p:cNvSpPr/>
            <p:nvPr/>
          </p:nvSpPr>
          <p:spPr>
            <a:xfrm>
              <a:off x="1825425" y="2810950"/>
              <a:ext cx="375675" cy="29950"/>
            </a:xfrm>
            <a:custGeom>
              <a:avLst/>
              <a:gdLst/>
              <a:ahLst/>
              <a:cxnLst/>
              <a:rect l="l" t="t" r="r" b="b"/>
              <a:pathLst>
                <a:path w="15027" h="1198" extrusionOk="0">
                  <a:moveTo>
                    <a:pt x="599" y="0"/>
                  </a:moveTo>
                  <a:cubicBezTo>
                    <a:pt x="267" y="0"/>
                    <a:pt x="1" y="266"/>
                    <a:pt x="1" y="599"/>
                  </a:cubicBezTo>
                  <a:cubicBezTo>
                    <a:pt x="1" y="931"/>
                    <a:pt x="267" y="1197"/>
                    <a:pt x="599" y="1197"/>
                  </a:cubicBezTo>
                  <a:lnTo>
                    <a:pt x="14428" y="1197"/>
                  </a:lnTo>
                  <a:cubicBezTo>
                    <a:pt x="14760" y="1197"/>
                    <a:pt x="15026" y="931"/>
                    <a:pt x="15026" y="599"/>
                  </a:cubicBezTo>
                  <a:cubicBezTo>
                    <a:pt x="15026" y="266"/>
                    <a:pt x="14760" y="0"/>
                    <a:pt x="1442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1" name="Google Shape;31;p1"/>
            <p:cNvSpPr/>
            <p:nvPr/>
          </p:nvSpPr>
          <p:spPr>
            <a:xfrm>
              <a:off x="249750" y="2102900"/>
              <a:ext cx="497000" cy="496975"/>
            </a:xfrm>
            <a:custGeom>
              <a:avLst/>
              <a:gdLst/>
              <a:ahLst/>
              <a:cxnLst/>
              <a:rect l="l" t="t" r="r" b="b"/>
              <a:pathLst>
                <a:path w="19880" h="19879" extrusionOk="0">
                  <a:moveTo>
                    <a:pt x="9907" y="0"/>
                  </a:moveTo>
                  <a:cubicBezTo>
                    <a:pt x="4455" y="0"/>
                    <a:pt x="0" y="4455"/>
                    <a:pt x="0" y="9906"/>
                  </a:cubicBezTo>
                  <a:cubicBezTo>
                    <a:pt x="0" y="15425"/>
                    <a:pt x="4455" y="19879"/>
                    <a:pt x="9907" y="19879"/>
                  </a:cubicBezTo>
                  <a:cubicBezTo>
                    <a:pt x="15425" y="19879"/>
                    <a:pt x="19879" y="15425"/>
                    <a:pt x="19879" y="9906"/>
                  </a:cubicBezTo>
                  <a:cubicBezTo>
                    <a:pt x="19879" y="4455"/>
                    <a:pt x="15425" y="0"/>
                    <a:pt x="990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2" name="Google Shape;32;p1"/>
            <p:cNvSpPr/>
            <p:nvPr/>
          </p:nvSpPr>
          <p:spPr>
            <a:xfrm>
              <a:off x="816525" y="2169375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1"/>
                  </a:moveTo>
                  <a:cubicBezTo>
                    <a:pt x="3258" y="1"/>
                    <a:pt x="1" y="3258"/>
                    <a:pt x="1" y="7247"/>
                  </a:cubicBezTo>
                  <a:cubicBezTo>
                    <a:pt x="1" y="11303"/>
                    <a:pt x="3258" y="14561"/>
                    <a:pt x="7247" y="14561"/>
                  </a:cubicBezTo>
                  <a:cubicBezTo>
                    <a:pt x="11303" y="14561"/>
                    <a:pt x="14561" y="11303"/>
                    <a:pt x="14561" y="7247"/>
                  </a:cubicBezTo>
                  <a:cubicBezTo>
                    <a:pt x="14561" y="3258"/>
                    <a:pt x="11303" y="1"/>
                    <a:pt x="724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3" name="Google Shape;33;p1"/>
            <p:cNvSpPr/>
            <p:nvPr/>
          </p:nvSpPr>
          <p:spPr>
            <a:xfrm>
              <a:off x="269700" y="2697925"/>
              <a:ext cx="255975" cy="256000"/>
            </a:xfrm>
            <a:custGeom>
              <a:avLst/>
              <a:gdLst/>
              <a:ahLst/>
              <a:cxnLst/>
              <a:rect l="l" t="t" r="r" b="b"/>
              <a:pathLst>
                <a:path w="10239" h="10240" extrusionOk="0">
                  <a:moveTo>
                    <a:pt x="5120" y="1"/>
                  </a:moveTo>
                  <a:cubicBezTo>
                    <a:pt x="2327" y="1"/>
                    <a:pt x="0" y="2327"/>
                    <a:pt x="0" y="5120"/>
                  </a:cubicBezTo>
                  <a:cubicBezTo>
                    <a:pt x="0" y="7912"/>
                    <a:pt x="2327" y="10239"/>
                    <a:pt x="5120" y="10239"/>
                  </a:cubicBezTo>
                  <a:cubicBezTo>
                    <a:pt x="7912" y="10239"/>
                    <a:pt x="10239" y="7912"/>
                    <a:pt x="10239" y="5120"/>
                  </a:cubicBezTo>
                  <a:cubicBezTo>
                    <a:pt x="10239" y="2327"/>
                    <a:pt x="7912" y="1"/>
                    <a:pt x="512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4" name="Google Shape;34;p1"/>
            <p:cNvSpPr/>
            <p:nvPr/>
          </p:nvSpPr>
          <p:spPr>
            <a:xfrm>
              <a:off x="1069175" y="1780450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13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13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5" name="Google Shape;35;p1"/>
            <p:cNvSpPr/>
            <p:nvPr/>
          </p:nvSpPr>
          <p:spPr>
            <a:xfrm>
              <a:off x="1002675" y="2638100"/>
              <a:ext cx="377325" cy="377300"/>
            </a:xfrm>
            <a:custGeom>
              <a:avLst/>
              <a:gdLst/>
              <a:ahLst/>
              <a:cxnLst/>
              <a:rect l="l" t="t" r="r" b="b"/>
              <a:pathLst>
                <a:path w="15093" h="15092" extrusionOk="0">
                  <a:moveTo>
                    <a:pt x="7514" y="0"/>
                  </a:moveTo>
                  <a:cubicBezTo>
                    <a:pt x="3392" y="0"/>
                    <a:pt x="1" y="3324"/>
                    <a:pt x="1" y="7513"/>
                  </a:cubicBezTo>
                  <a:cubicBezTo>
                    <a:pt x="1" y="11701"/>
                    <a:pt x="3392" y="15092"/>
                    <a:pt x="7514" y="15092"/>
                  </a:cubicBezTo>
                  <a:cubicBezTo>
                    <a:pt x="11702" y="15092"/>
                    <a:pt x="15093" y="11701"/>
                    <a:pt x="15093" y="7513"/>
                  </a:cubicBezTo>
                  <a:cubicBezTo>
                    <a:pt x="15093" y="3324"/>
                    <a:pt x="11702" y="0"/>
                    <a:pt x="751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6" name="Google Shape;36;p1"/>
            <p:cNvSpPr/>
            <p:nvPr/>
          </p:nvSpPr>
          <p:spPr>
            <a:xfrm>
              <a:off x="650325" y="1820325"/>
              <a:ext cx="299200" cy="297550"/>
            </a:xfrm>
            <a:custGeom>
              <a:avLst/>
              <a:gdLst/>
              <a:ahLst/>
              <a:cxnLst/>
              <a:rect l="l" t="t" r="r" b="b"/>
              <a:pathLst>
                <a:path w="11968" h="11902" extrusionOk="0">
                  <a:moveTo>
                    <a:pt x="5984" y="1"/>
                  </a:moveTo>
                  <a:cubicBezTo>
                    <a:pt x="2660" y="1"/>
                    <a:pt x="0" y="2660"/>
                    <a:pt x="0" y="5918"/>
                  </a:cubicBezTo>
                  <a:cubicBezTo>
                    <a:pt x="0" y="9242"/>
                    <a:pt x="2660" y="11902"/>
                    <a:pt x="5984" y="11902"/>
                  </a:cubicBezTo>
                  <a:cubicBezTo>
                    <a:pt x="9241" y="11902"/>
                    <a:pt x="11967" y="9242"/>
                    <a:pt x="11967" y="5918"/>
                  </a:cubicBezTo>
                  <a:cubicBezTo>
                    <a:pt x="11967" y="2660"/>
                    <a:pt x="9241" y="1"/>
                    <a:pt x="5984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7" name="Google Shape;37;p1"/>
            <p:cNvSpPr/>
            <p:nvPr/>
          </p:nvSpPr>
          <p:spPr>
            <a:xfrm>
              <a:off x="612075" y="2676325"/>
              <a:ext cx="299225" cy="299200"/>
            </a:xfrm>
            <a:custGeom>
              <a:avLst/>
              <a:gdLst/>
              <a:ahLst/>
              <a:cxnLst/>
              <a:rect l="l" t="t" r="r" b="b"/>
              <a:pathLst>
                <a:path w="11969" h="11968" extrusionOk="0">
                  <a:moveTo>
                    <a:pt x="5985" y="0"/>
                  </a:moveTo>
                  <a:cubicBezTo>
                    <a:pt x="2727" y="0"/>
                    <a:pt x="1" y="2726"/>
                    <a:pt x="1" y="5984"/>
                  </a:cubicBezTo>
                  <a:cubicBezTo>
                    <a:pt x="1" y="9308"/>
                    <a:pt x="2727" y="11967"/>
                    <a:pt x="5985" y="11967"/>
                  </a:cubicBezTo>
                  <a:cubicBezTo>
                    <a:pt x="9309" y="11967"/>
                    <a:pt x="11968" y="9308"/>
                    <a:pt x="11968" y="5984"/>
                  </a:cubicBezTo>
                  <a:cubicBezTo>
                    <a:pt x="11968" y="2726"/>
                    <a:pt x="9309" y="0"/>
                    <a:pt x="598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8" name="Google Shape;38;p1"/>
            <p:cNvSpPr/>
            <p:nvPr/>
          </p:nvSpPr>
          <p:spPr>
            <a:xfrm>
              <a:off x="1950075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5" y="0"/>
                    <a:pt x="1" y="1131"/>
                    <a:pt x="1" y="2460"/>
                  </a:cubicBezTo>
                  <a:cubicBezTo>
                    <a:pt x="1" y="3790"/>
                    <a:pt x="1065" y="4920"/>
                    <a:pt x="2461" y="4920"/>
                  </a:cubicBezTo>
                  <a:cubicBezTo>
                    <a:pt x="3791" y="4920"/>
                    <a:pt x="4921" y="3790"/>
                    <a:pt x="4921" y="2460"/>
                  </a:cubicBezTo>
                  <a:cubicBezTo>
                    <a:pt x="4921" y="1131"/>
                    <a:pt x="3791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39" name="Google Shape;39;p1"/>
            <p:cNvSpPr/>
            <p:nvPr/>
          </p:nvSpPr>
          <p:spPr>
            <a:xfrm>
              <a:off x="1389950" y="3239775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1" y="0"/>
                  </a:moveTo>
                  <a:cubicBezTo>
                    <a:pt x="1064" y="0"/>
                    <a:pt x="1" y="1131"/>
                    <a:pt x="1" y="2460"/>
                  </a:cubicBezTo>
                  <a:cubicBezTo>
                    <a:pt x="1" y="3790"/>
                    <a:pt x="1064" y="4920"/>
                    <a:pt x="2461" y="4920"/>
                  </a:cubicBezTo>
                  <a:cubicBezTo>
                    <a:pt x="3790" y="4920"/>
                    <a:pt x="4921" y="3790"/>
                    <a:pt x="4921" y="2460"/>
                  </a:cubicBezTo>
                  <a:cubicBezTo>
                    <a:pt x="4921" y="1131"/>
                    <a:pt x="3790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0" name="Google Shape;40;p1"/>
            <p:cNvSpPr/>
            <p:nvPr/>
          </p:nvSpPr>
          <p:spPr>
            <a:xfrm>
              <a:off x="1670850" y="3711800"/>
              <a:ext cx="123025" cy="123025"/>
            </a:xfrm>
            <a:custGeom>
              <a:avLst/>
              <a:gdLst/>
              <a:ahLst/>
              <a:cxnLst/>
              <a:rect l="l" t="t" r="r" b="b"/>
              <a:pathLst>
                <a:path w="4921" h="4921" extrusionOk="0">
                  <a:moveTo>
                    <a:pt x="2460" y="1"/>
                  </a:moveTo>
                  <a:cubicBezTo>
                    <a:pt x="1131" y="1"/>
                    <a:pt x="1" y="1131"/>
                    <a:pt x="1" y="2461"/>
                  </a:cubicBezTo>
                  <a:cubicBezTo>
                    <a:pt x="1" y="3790"/>
                    <a:pt x="1131" y="4921"/>
                    <a:pt x="2460" y="4921"/>
                  </a:cubicBezTo>
                  <a:cubicBezTo>
                    <a:pt x="3857" y="4921"/>
                    <a:pt x="4920" y="3790"/>
                    <a:pt x="4920" y="2461"/>
                  </a:cubicBezTo>
                  <a:cubicBezTo>
                    <a:pt x="4920" y="1131"/>
                    <a:pt x="3857" y="1"/>
                    <a:pt x="2460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1" name="Google Shape;41;p1"/>
            <p:cNvSpPr/>
            <p:nvPr/>
          </p:nvSpPr>
          <p:spPr>
            <a:xfrm>
              <a:off x="1459775" y="3758350"/>
              <a:ext cx="181175" cy="29950"/>
            </a:xfrm>
            <a:custGeom>
              <a:avLst/>
              <a:gdLst/>
              <a:ahLst/>
              <a:cxnLst/>
              <a:rect l="l" t="t" r="r" b="b"/>
              <a:pathLst>
                <a:path w="7247" h="1198" extrusionOk="0">
                  <a:moveTo>
                    <a:pt x="598" y="0"/>
                  </a:moveTo>
                  <a:cubicBezTo>
                    <a:pt x="266" y="0"/>
                    <a:pt x="0" y="266"/>
                    <a:pt x="0" y="599"/>
                  </a:cubicBezTo>
                  <a:cubicBezTo>
                    <a:pt x="0" y="931"/>
                    <a:pt x="266" y="1197"/>
                    <a:pt x="598" y="1197"/>
                  </a:cubicBezTo>
                  <a:lnTo>
                    <a:pt x="6648" y="1197"/>
                  </a:lnTo>
                  <a:cubicBezTo>
                    <a:pt x="6981" y="1197"/>
                    <a:pt x="7247" y="931"/>
                    <a:pt x="7247" y="599"/>
                  </a:cubicBezTo>
                  <a:cubicBezTo>
                    <a:pt x="7247" y="266"/>
                    <a:pt x="6981" y="0"/>
                    <a:pt x="6648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2" name="Google Shape;42;p1"/>
            <p:cNvSpPr/>
            <p:nvPr/>
          </p:nvSpPr>
          <p:spPr>
            <a:xfrm>
              <a:off x="1770575" y="2905700"/>
              <a:ext cx="204475" cy="317475"/>
            </a:xfrm>
            <a:custGeom>
              <a:avLst/>
              <a:gdLst/>
              <a:ahLst/>
              <a:cxnLst/>
              <a:rect l="l" t="t" r="r" b="b"/>
              <a:pathLst>
                <a:path w="8179" h="12699" extrusionOk="0">
                  <a:moveTo>
                    <a:pt x="665" y="0"/>
                  </a:moveTo>
                  <a:cubicBezTo>
                    <a:pt x="599" y="0"/>
                    <a:pt x="466" y="0"/>
                    <a:pt x="400" y="67"/>
                  </a:cubicBezTo>
                  <a:cubicBezTo>
                    <a:pt x="134" y="199"/>
                    <a:pt x="1" y="598"/>
                    <a:pt x="200" y="864"/>
                  </a:cubicBezTo>
                  <a:lnTo>
                    <a:pt x="6981" y="12433"/>
                  </a:lnTo>
                  <a:cubicBezTo>
                    <a:pt x="7114" y="12610"/>
                    <a:pt x="7307" y="12699"/>
                    <a:pt x="7499" y="12699"/>
                  </a:cubicBezTo>
                  <a:cubicBezTo>
                    <a:pt x="7595" y="12699"/>
                    <a:pt x="7691" y="12676"/>
                    <a:pt x="7779" y="12632"/>
                  </a:cubicBezTo>
                  <a:cubicBezTo>
                    <a:pt x="8112" y="12433"/>
                    <a:pt x="8178" y="12100"/>
                    <a:pt x="7979" y="11834"/>
                  </a:cubicBezTo>
                  <a:lnTo>
                    <a:pt x="1197" y="266"/>
                  </a:lnTo>
                  <a:cubicBezTo>
                    <a:pt x="1064" y="67"/>
                    <a:pt x="865" y="0"/>
                    <a:pt x="665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3" name="Google Shape;43;p1"/>
            <p:cNvSpPr/>
            <p:nvPr/>
          </p:nvSpPr>
          <p:spPr>
            <a:xfrm>
              <a:off x="1489675" y="3376075"/>
              <a:ext cx="206125" cy="319875"/>
            </a:xfrm>
            <a:custGeom>
              <a:avLst/>
              <a:gdLst/>
              <a:ahLst/>
              <a:cxnLst/>
              <a:rect l="l" t="t" r="r" b="b"/>
              <a:pathLst>
                <a:path w="8245" h="12795" extrusionOk="0">
                  <a:moveTo>
                    <a:pt x="732" y="0"/>
                  </a:moveTo>
                  <a:cubicBezTo>
                    <a:pt x="599" y="0"/>
                    <a:pt x="533" y="67"/>
                    <a:pt x="400" y="67"/>
                  </a:cubicBezTo>
                  <a:cubicBezTo>
                    <a:pt x="134" y="266"/>
                    <a:pt x="1" y="598"/>
                    <a:pt x="200" y="931"/>
                  </a:cubicBezTo>
                  <a:lnTo>
                    <a:pt x="7048" y="12499"/>
                  </a:lnTo>
                  <a:cubicBezTo>
                    <a:pt x="7137" y="12676"/>
                    <a:pt x="7344" y="12795"/>
                    <a:pt x="7550" y="12795"/>
                  </a:cubicBezTo>
                  <a:cubicBezTo>
                    <a:pt x="7654" y="12795"/>
                    <a:pt x="7757" y="12765"/>
                    <a:pt x="7846" y="12699"/>
                  </a:cubicBezTo>
                  <a:cubicBezTo>
                    <a:pt x="8112" y="12566"/>
                    <a:pt x="8245" y="12167"/>
                    <a:pt x="8045" y="11901"/>
                  </a:cubicBezTo>
                  <a:lnTo>
                    <a:pt x="1197" y="332"/>
                  </a:lnTo>
                  <a:cubicBezTo>
                    <a:pt x="1131" y="133"/>
                    <a:pt x="932" y="0"/>
                    <a:pt x="732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4" name="Google Shape;44;p1"/>
            <p:cNvSpPr/>
            <p:nvPr/>
          </p:nvSpPr>
          <p:spPr>
            <a:xfrm>
              <a:off x="1283575" y="3028675"/>
              <a:ext cx="133000" cy="196150"/>
            </a:xfrm>
            <a:custGeom>
              <a:avLst/>
              <a:gdLst/>
              <a:ahLst/>
              <a:cxnLst/>
              <a:rect l="l" t="t" r="r" b="b"/>
              <a:pathLst>
                <a:path w="5320" h="7846" extrusionOk="0">
                  <a:moveTo>
                    <a:pt x="666" y="1"/>
                  </a:moveTo>
                  <a:cubicBezTo>
                    <a:pt x="599" y="1"/>
                    <a:pt x="466" y="1"/>
                    <a:pt x="400" y="67"/>
                  </a:cubicBezTo>
                  <a:cubicBezTo>
                    <a:pt x="134" y="200"/>
                    <a:pt x="1" y="599"/>
                    <a:pt x="200" y="865"/>
                  </a:cubicBezTo>
                  <a:lnTo>
                    <a:pt x="4123" y="7580"/>
                  </a:lnTo>
                  <a:cubicBezTo>
                    <a:pt x="4256" y="7757"/>
                    <a:pt x="4448" y="7846"/>
                    <a:pt x="4640" y="7846"/>
                  </a:cubicBezTo>
                  <a:cubicBezTo>
                    <a:pt x="4736" y="7846"/>
                    <a:pt x="4832" y="7824"/>
                    <a:pt x="4921" y="7780"/>
                  </a:cubicBezTo>
                  <a:cubicBezTo>
                    <a:pt x="5253" y="7580"/>
                    <a:pt x="5319" y="7248"/>
                    <a:pt x="5120" y="6982"/>
                  </a:cubicBezTo>
                  <a:lnTo>
                    <a:pt x="1197" y="267"/>
                  </a:lnTo>
                  <a:cubicBezTo>
                    <a:pt x="1064" y="67"/>
                    <a:pt x="865" y="1"/>
                    <a:pt x="666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5" name="Google Shape;45;p1"/>
            <p:cNvSpPr/>
            <p:nvPr/>
          </p:nvSpPr>
          <p:spPr>
            <a:xfrm>
              <a:off x="1770575" y="3376075"/>
              <a:ext cx="204475" cy="318225"/>
            </a:xfrm>
            <a:custGeom>
              <a:avLst/>
              <a:gdLst/>
              <a:ahLst/>
              <a:cxnLst/>
              <a:rect l="l" t="t" r="r" b="b"/>
              <a:pathLst>
                <a:path w="8179" h="12729" extrusionOk="0">
                  <a:moveTo>
                    <a:pt x="7513" y="0"/>
                  </a:moveTo>
                  <a:cubicBezTo>
                    <a:pt x="7314" y="0"/>
                    <a:pt x="7114" y="133"/>
                    <a:pt x="6981" y="332"/>
                  </a:cubicBezTo>
                  <a:lnTo>
                    <a:pt x="200" y="11834"/>
                  </a:lnTo>
                  <a:cubicBezTo>
                    <a:pt x="1" y="12100"/>
                    <a:pt x="134" y="12499"/>
                    <a:pt x="400" y="12632"/>
                  </a:cubicBezTo>
                  <a:cubicBezTo>
                    <a:pt x="488" y="12699"/>
                    <a:pt x="592" y="12728"/>
                    <a:pt x="695" y="12728"/>
                  </a:cubicBezTo>
                  <a:cubicBezTo>
                    <a:pt x="902" y="12728"/>
                    <a:pt x="1109" y="12610"/>
                    <a:pt x="1197" y="12433"/>
                  </a:cubicBezTo>
                  <a:lnTo>
                    <a:pt x="8045" y="931"/>
                  </a:lnTo>
                  <a:cubicBezTo>
                    <a:pt x="8178" y="598"/>
                    <a:pt x="8112" y="266"/>
                    <a:pt x="7779" y="67"/>
                  </a:cubicBezTo>
                  <a:cubicBezTo>
                    <a:pt x="7713" y="67"/>
                    <a:pt x="7580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6" name="Google Shape;46;p1"/>
            <p:cNvSpPr/>
            <p:nvPr/>
          </p:nvSpPr>
          <p:spPr>
            <a:xfrm>
              <a:off x="1338425" y="3376075"/>
              <a:ext cx="78150" cy="105475"/>
            </a:xfrm>
            <a:custGeom>
              <a:avLst/>
              <a:gdLst/>
              <a:ahLst/>
              <a:cxnLst/>
              <a:rect l="l" t="t" r="r" b="b"/>
              <a:pathLst>
                <a:path w="3126" h="4219" extrusionOk="0">
                  <a:moveTo>
                    <a:pt x="2461" y="0"/>
                  </a:moveTo>
                  <a:cubicBezTo>
                    <a:pt x="2261" y="0"/>
                    <a:pt x="2062" y="133"/>
                    <a:pt x="1929" y="332"/>
                  </a:cubicBezTo>
                  <a:lnTo>
                    <a:pt x="134" y="3324"/>
                  </a:lnTo>
                  <a:cubicBezTo>
                    <a:pt x="1" y="3590"/>
                    <a:pt x="67" y="3989"/>
                    <a:pt x="333" y="4122"/>
                  </a:cubicBezTo>
                  <a:cubicBezTo>
                    <a:pt x="444" y="4189"/>
                    <a:pt x="555" y="4218"/>
                    <a:pt x="661" y="4218"/>
                  </a:cubicBezTo>
                  <a:cubicBezTo>
                    <a:pt x="872" y="4218"/>
                    <a:pt x="1064" y="4100"/>
                    <a:pt x="1197" y="3923"/>
                  </a:cubicBezTo>
                  <a:lnTo>
                    <a:pt x="2926" y="931"/>
                  </a:lnTo>
                  <a:cubicBezTo>
                    <a:pt x="3125" y="598"/>
                    <a:pt x="3059" y="266"/>
                    <a:pt x="2727" y="67"/>
                  </a:cubicBezTo>
                  <a:cubicBezTo>
                    <a:pt x="2660" y="67"/>
                    <a:pt x="2527" y="0"/>
                    <a:pt x="2461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7" name="Google Shape;47;p1"/>
            <p:cNvSpPr/>
            <p:nvPr/>
          </p:nvSpPr>
          <p:spPr>
            <a:xfrm>
              <a:off x="1489675" y="2905700"/>
              <a:ext cx="206125" cy="319125"/>
            </a:xfrm>
            <a:custGeom>
              <a:avLst/>
              <a:gdLst/>
              <a:ahLst/>
              <a:cxnLst/>
              <a:rect l="l" t="t" r="r" b="b"/>
              <a:pathLst>
                <a:path w="8245" h="12765" extrusionOk="0">
                  <a:moveTo>
                    <a:pt x="7580" y="0"/>
                  </a:moveTo>
                  <a:cubicBezTo>
                    <a:pt x="7381" y="0"/>
                    <a:pt x="7181" y="67"/>
                    <a:pt x="7048" y="266"/>
                  </a:cubicBezTo>
                  <a:lnTo>
                    <a:pt x="200" y="11901"/>
                  </a:lnTo>
                  <a:cubicBezTo>
                    <a:pt x="1" y="12167"/>
                    <a:pt x="134" y="12499"/>
                    <a:pt x="400" y="12699"/>
                  </a:cubicBezTo>
                  <a:cubicBezTo>
                    <a:pt x="488" y="12743"/>
                    <a:pt x="592" y="12765"/>
                    <a:pt x="695" y="12765"/>
                  </a:cubicBezTo>
                  <a:cubicBezTo>
                    <a:pt x="902" y="12765"/>
                    <a:pt x="1109" y="12676"/>
                    <a:pt x="1197" y="12499"/>
                  </a:cubicBezTo>
                  <a:lnTo>
                    <a:pt x="8045" y="864"/>
                  </a:lnTo>
                  <a:cubicBezTo>
                    <a:pt x="8245" y="598"/>
                    <a:pt x="8112" y="199"/>
                    <a:pt x="7846" y="67"/>
                  </a:cubicBezTo>
                  <a:cubicBezTo>
                    <a:pt x="7779" y="0"/>
                    <a:pt x="7646" y="0"/>
                    <a:pt x="7580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8" name="Google Shape;48;p1"/>
            <p:cNvSpPr/>
            <p:nvPr/>
          </p:nvSpPr>
          <p:spPr>
            <a:xfrm>
              <a:off x="1542875" y="3286300"/>
              <a:ext cx="375650" cy="29950"/>
            </a:xfrm>
            <a:custGeom>
              <a:avLst/>
              <a:gdLst/>
              <a:ahLst/>
              <a:cxnLst/>
              <a:rect l="l" t="t" r="r" b="b"/>
              <a:pathLst>
                <a:path w="15026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14427" y="1198"/>
                  </a:lnTo>
                  <a:cubicBezTo>
                    <a:pt x="14760" y="1198"/>
                    <a:pt x="15026" y="932"/>
                    <a:pt x="15026" y="599"/>
                  </a:cubicBezTo>
                  <a:cubicBezTo>
                    <a:pt x="15026" y="267"/>
                    <a:pt x="14760" y="1"/>
                    <a:pt x="1442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49" name="Google Shape;49;p1"/>
            <p:cNvSpPr/>
            <p:nvPr/>
          </p:nvSpPr>
          <p:spPr>
            <a:xfrm>
              <a:off x="2049825" y="2905700"/>
              <a:ext cx="204450" cy="319125"/>
            </a:xfrm>
            <a:custGeom>
              <a:avLst/>
              <a:gdLst/>
              <a:ahLst/>
              <a:cxnLst/>
              <a:rect l="l" t="t" r="r" b="b"/>
              <a:pathLst>
                <a:path w="8178" h="12765" extrusionOk="0">
                  <a:moveTo>
                    <a:pt x="7513" y="0"/>
                  </a:moveTo>
                  <a:cubicBezTo>
                    <a:pt x="7313" y="0"/>
                    <a:pt x="7114" y="67"/>
                    <a:pt x="6981" y="266"/>
                  </a:cubicBezTo>
                  <a:lnTo>
                    <a:pt x="133" y="11834"/>
                  </a:lnTo>
                  <a:cubicBezTo>
                    <a:pt x="0" y="12167"/>
                    <a:pt x="66" y="12499"/>
                    <a:pt x="332" y="12699"/>
                  </a:cubicBezTo>
                  <a:cubicBezTo>
                    <a:pt x="443" y="12743"/>
                    <a:pt x="554" y="12765"/>
                    <a:pt x="660" y="12765"/>
                  </a:cubicBezTo>
                  <a:cubicBezTo>
                    <a:pt x="872" y="12765"/>
                    <a:pt x="1064" y="12676"/>
                    <a:pt x="1197" y="12499"/>
                  </a:cubicBezTo>
                  <a:lnTo>
                    <a:pt x="7978" y="864"/>
                  </a:lnTo>
                  <a:cubicBezTo>
                    <a:pt x="8178" y="598"/>
                    <a:pt x="8111" y="199"/>
                    <a:pt x="7779" y="67"/>
                  </a:cubicBezTo>
                  <a:cubicBezTo>
                    <a:pt x="7712" y="0"/>
                    <a:pt x="7579" y="0"/>
                    <a:pt x="7513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0" name="Google Shape;50;p1"/>
            <p:cNvSpPr/>
            <p:nvPr/>
          </p:nvSpPr>
          <p:spPr>
            <a:xfrm>
              <a:off x="1217100" y="3286300"/>
              <a:ext cx="141300" cy="29950"/>
            </a:xfrm>
            <a:custGeom>
              <a:avLst/>
              <a:gdLst/>
              <a:ahLst/>
              <a:cxnLst/>
              <a:rect l="l" t="t" r="r" b="b"/>
              <a:pathLst>
                <a:path w="5652" h="1198" extrusionOk="0">
                  <a:moveTo>
                    <a:pt x="599" y="1"/>
                  </a:moveTo>
                  <a:cubicBezTo>
                    <a:pt x="266" y="1"/>
                    <a:pt x="0" y="267"/>
                    <a:pt x="0" y="599"/>
                  </a:cubicBezTo>
                  <a:cubicBezTo>
                    <a:pt x="0" y="932"/>
                    <a:pt x="266" y="1198"/>
                    <a:pt x="599" y="1198"/>
                  </a:cubicBezTo>
                  <a:lnTo>
                    <a:pt x="5053" y="1198"/>
                  </a:lnTo>
                  <a:cubicBezTo>
                    <a:pt x="5386" y="1198"/>
                    <a:pt x="5651" y="932"/>
                    <a:pt x="5651" y="599"/>
                  </a:cubicBezTo>
                  <a:cubicBezTo>
                    <a:pt x="5651" y="267"/>
                    <a:pt x="5386" y="1"/>
                    <a:pt x="5053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1" name="Google Shape;51;p1"/>
            <p:cNvSpPr/>
            <p:nvPr/>
          </p:nvSpPr>
          <p:spPr>
            <a:xfrm>
              <a:off x="249750" y="3051950"/>
              <a:ext cx="497000" cy="498650"/>
            </a:xfrm>
            <a:custGeom>
              <a:avLst/>
              <a:gdLst/>
              <a:ahLst/>
              <a:cxnLst/>
              <a:rect l="l" t="t" r="r" b="b"/>
              <a:pathLst>
                <a:path w="19880" h="19946" extrusionOk="0">
                  <a:moveTo>
                    <a:pt x="9907" y="1"/>
                  </a:moveTo>
                  <a:cubicBezTo>
                    <a:pt x="4455" y="1"/>
                    <a:pt x="0" y="4522"/>
                    <a:pt x="0" y="9973"/>
                  </a:cubicBezTo>
                  <a:cubicBezTo>
                    <a:pt x="0" y="15491"/>
                    <a:pt x="4455" y="19946"/>
                    <a:pt x="9907" y="19946"/>
                  </a:cubicBezTo>
                  <a:cubicBezTo>
                    <a:pt x="15425" y="19946"/>
                    <a:pt x="19879" y="15491"/>
                    <a:pt x="19879" y="9973"/>
                  </a:cubicBezTo>
                  <a:cubicBezTo>
                    <a:pt x="19879" y="4522"/>
                    <a:pt x="15425" y="1"/>
                    <a:pt x="9907" y="1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2" name="Google Shape;52;p1"/>
            <p:cNvSpPr/>
            <p:nvPr/>
          </p:nvSpPr>
          <p:spPr>
            <a:xfrm>
              <a:off x="816525" y="3120100"/>
              <a:ext cx="364025" cy="364025"/>
            </a:xfrm>
            <a:custGeom>
              <a:avLst/>
              <a:gdLst/>
              <a:ahLst/>
              <a:cxnLst/>
              <a:rect l="l" t="t" r="r" b="b"/>
              <a:pathLst>
                <a:path w="14561" h="14561" extrusionOk="0">
                  <a:moveTo>
                    <a:pt x="7247" y="0"/>
                  </a:moveTo>
                  <a:cubicBezTo>
                    <a:pt x="3258" y="0"/>
                    <a:pt x="1" y="3258"/>
                    <a:pt x="1" y="7247"/>
                  </a:cubicBezTo>
                  <a:cubicBezTo>
                    <a:pt x="1" y="11236"/>
                    <a:pt x="3258" y="14561"/>
                    <a:pt x="7247" y="14561"/>
                  </a:cubicBezTo>
                  <a:cubicBezTo>
                    <a:pt x="11303" y="14561"/>
                    <a:pt x="14561" y="11236"/>
                    <a:pt x="14561" y="7247"/>
                  </a:cubicBezTo>
                  <a:cubicBezTo>
                    <a:pt x="14561" y="3258"/>
                    <a:pt x="11303" y="0"/>
                    <a:pt x="7247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3" name="Google Shape;53;p1"/>
            <p:cNvSpPr/>
            <p:nvPr/>
          </p:nvSpPr>
          <p:spPr>
            <a:xfrm>
              <a:off x="1069175" y="3494075"/>
              <a:ext cx="377325" cy="377325"/>
            </a:xfrm>
            <a:custGeom>
              <a:avLst/>
              <a:gdLst/>
              <a:ahLst/>
              <a:cxnLst/>
              <a:rect l="l" t="t" r="r" b="b"/>
              <a:pathLst>
                <a:path w="15093" h="15093" extrusionOk="0">
                  <a:moveTo>
                    <a:pt x="7579" y="0"/>
                  </a:moveTo>
                  <a:cubicBezTo>
                    <a:pt x="3391" y="0"/>
                    <a:pt x="0" y="3391"/>
                    <a:pt x="0" y="7580"/>
                  </a:cubicBezTo>
                  <a:cubicBezTo>
                    <a:pt x="0" y="11702"/>
                    <a:pt x="3391" y="15092"/>
                    <a:pt x="7579" y="15092"/>
                  </a:cubicBezTo>
                  <a:cubicBezTo>
                    <a:pt x="11701" y="15092"/>
                    <a:pt x="15092" y="11702"/>
                    <a:pt x="15092" y="7580"/>
                  </a:cubicBezTo>
                  <a:cubicBezTo>
                    <a:pt x="15092" y="3391"/>
                    <a:pt x="11701" y="0"/>
                    <a:pt x="7579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  <p:sp>
          <p:nvSpPr>
            <p:cNvPr id="54" name="Google Shape;54;p1"/>
            <p:cNvSpPr/>
            <p:nvPr/>
          </p:nvSpPr>
          <p:spPr>
            <a:xfrm>
              <a:off x="650325" y="3533975"/>
              <a:ext cx="299200" cy="299200"/>
            </a:xfrm>
            <a:custGeom>
              <a:avLst/>
              <a:gdLst/>
              <a:ahLst/>
              <a:cxnLst/>
              <a:rect l="l" t="t" r="r" b="b"/>
              <a:pathLst>
                <a:path w="11968" h="11968" extrusionOk="0">
                  <a:moveTo>
                    <a:pt x="5984" y="0"/>
                  </a:moveTo>
                  <a:cubicBezTo>
                    <a:pt x="2660" y="0"/>
                    <a:pt x="0" y="2659"/>
                    <a:pt x="0" y="5984"/>
                  </a:cubicBezTo>
                  <a:cubicBezTo>
                    <a:pt x="0" y="9241"/>
                    <a:pt x="2660" y="11967"/>
                    <a:pt x="5984" y="11967"/>
                  </a:cubicBezTo>
                  <a:cubicBezTo>
                    <a:pt x="9241" y="11967"/>
                    <a:pt x="11967" y="9241"/>
                    <a:pt x="11967" y="5984"/>
                  </a:cubicBezTo>
                  <a:cubicBezTo>
                    <a:pt x="11967" y="2659"/>
                    <a:pt x="9241" y="0"/>
                    <a:pt x="5984" y="0"/>
                  </a:cubicBezTo>
                  <a:close/>
                </a:path>
              </a:pathLst>
            </a:custGeom>
            <a:solidFill>
              <a:srgbClr val="662E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atinLnBrk="0">
                <a:buClr>
                  <a:srgbClr val="000000"/>
                </a:buClr>
                <a:buSzPts val="1400"/>
                <a:buFont typeface="Arial"/>
                <a:buNone/>
              </a:pPr>
              <a:endParaRPr sz="1867" kern="0">
                <a:solidFill>
                  <a:srgbClr val="000000"/>
                </a:solidFill>
                <a:latin typeface="Work Sans"/>
                <a:ea typeface="Work Sans"/>
                <a:cs typeface="Work Sans"/>
                <a:sym typeface="Work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988544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461">
          <p15:clr>
            <a:srgbClr val="E46962"/>
          </p15:clr>
        </p15:guide>
        <p15:guide id="2" orient="horz" pos="3002">
          <p15:clr>
            <a:srgbClr val="E46962"/>
          </p15:clr>
        </p15:guide>
        <p15:guide id="3" pos="4331">
          <p15:clr>
            <a:srgbClr val="E46962"/>
          </p15:clr>
        </p15:guide>
        <p15:guide id="4" pos="4217">
          <p15:clr>
            <a:srgbClr val="E46962"/>
          </p15:clr>
        </p15:guide>
        <p15:guide id="5" pos="3087">
          <p15:clr>
            <a:srgbClr val="E46962"/>
          </p15:clr>
        </p15:guide>
        <p15:guide id="6" pos="2974">
          <p15:clr>
            <a:srgbClr val="E46962"/>
          </p15:clr>
        </p15:guide>
        <p15:guide id="7" pos="1844">
          <p15:clr>
            <a:srgbClr val="E46962"/>
          </p15:clr>
        </p15:guide>
        <p15:guide id="8" pos="1731">
          <p15:clr>
            <a:srgbClr val="E46962"/>
          </p15:clr>
        </p15:guide>
        <p15:guide id="9" pos="601">
          <p15:clr>
            <a:srgbClr val="E46962"/>
          </p15:clr>
        </p15:guide>
        <p15:guide id="10" pos="299">
          <p15:clr>
            <a:srgbClr val="E46962"/>
          </p15:clr>
        </p15:guide>
        <p15:guide id="11" orient="horz" pos="240">
          <p15:clr>
            <a:srgbClr val="E46962"/>
          </p15:clr>
        </p15:guide>
        <p15:guide id="12" orient="horz" pos="946">
          <p15:clr>
            <a:srgbClr val="E46962"/>
          </p15:clr>
        </p15:guide>
        <p15:guide id="13" orient="horz" pos="1025">
          <p15:clr>
            <a:srgbClr val="E46962"/>
          </p15:clr>
        </p15:guide>
        <p15:guide id="14" pos="1788">
          <p15:clr>
            <a:srgbClr val="E46962"/>
          </p15:clr>
        </p15:guide>
        <p15:guide id="15" pos="3031">
          <p15:clr>
            <a:srgbClr val="E46962"/>
          </p15:clr>
        </p15:guide>
        <p15:guide id="16" pos="4274">
          <p15:clr>
            <a:srgbClr val="E46962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3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23"/>
          <p:cNvSpPr txBox="1">
            <a:spLocks noGrp="1"/>
          </p:cNvSpPr>
          <p:nvPr>
            <p:ph type="dt" idx="10"/>
          </p:nvPr>
        </p:nvSpPr>
        <p:spPr>
          <a:xfrm>
            <a:off x="1833623" y="6325323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914395"/>
            <a:endParaRPr lang="fr-FR" kern="0"/>
          </a:p>
        </p:txBody>
      </p:sp>
      <p:sp>
        <p:nvSpPr>
          <p:cNvPr id="13" name="Google Shape;13;p23"/>
          <p:cNvSpPr txBox="1">
            <a:spLocks noGrp="1"/>
          </p:cNvSpPr>
          <p:nvPr>
            <p:ph type="ftr" idx="11"/>
          </p:nvPr>
        </p:nvSpPr>
        <p:spPr>
          <a:xfrm>
            <a:off x="4576823" y="6346623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914395"/>
            <a:endParaRPr lang="fr-FR" kern="0"/>
          </a:p>
        </p:txBody>
      </p:sp>
      <p:sp>
        <p:nvSpPr>
          <p:cNvPr id="14" name="Google Shape;14;p2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914395"/>
            <a:fld id="{00000000-1234-1234-1234-123412341234}" type="slidenum">
              <a:rPr lang="uk-UA" kern="0" smtClean="0"/>
              <a:pPr defTabSz="914395"/>
              <a:t>‹#›</a:t>
            </a:fld>
            <a:endParaRPr lang="uk-UA" kern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xmlns="" id="{0E627023-F35A-21D2-F681-06CBBBE1F7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2" y="6062694"/>
            <a:ext cx="1352862" cy="845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83149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1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3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9" descr="Image 9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Connecteur droit 8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6" name="Texte du titre"/>
          <p:cNvSpPr txBox="1">
            <a:spLocks noGrp="1"/>
          </p:cNvSpPr>
          <p:nvPr>
            <p:ph type="title"/>
          </p:nvPr>
        </p:nvSpPr>
        <p:spPr>
          <a:xfrm>
            <a:off x="798969" y="200995"/>
            <a:ext cx="10515601" cy="8962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 anchor="b">
            <a:normAutofit/>
          </a:bodyPr>
          <a:lstStyle/>
          <a:p>
            <a:r>
              <a:t>Texte du titre</a:t>
            </a:r>
          </a:p>
        </p:txBody>
      </p:sp>
      <p:sp>
        <p:nvSpPr>
          <p:cNvPr id="7" name="Texte niveau 1…"/>
          <p:cNvSpPr txBox="1">
            <a:spLocks noGrp="1"/>
          </p:cNvSpPr>
          <p:nvPr>
            <p:ph type="body" idx="1"/>
          </p:nvPr>
        </p:nvSpPr>
        <p:spPr>
          <a:xfrm>
            <a:off x="822960" y="1836000"/>
            <a:ext cx="10515601" cy="435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rPr dirty="0"/>
              <a:t>Texte niveau 1</a:t>
            </a:r>
          </a:p>
          <a:p>
            <a:pPr lvl="3"/>
            <a:r>
              <a:rPr dirty="0"/>
              <a:t>Texte niveau</a:t>
            </a:r>
            <a:r>
              <a:rPr lang="fr-CA" dirty="0"/>
              <a:t> 2</a:t>
            </a:r>
            <a:r>
              <a:rPr dirty="0"/>
              <a:t> </a:t>
            </a:r>
          </a:p>
          <a:p>
            <a:pPr lvl="2"/>
            <a:r>
              <a:rPr dirty="0"/>
              <a:t>Texte niveau </a:t>
            </a:r>
            <a:r>
              <a:rPr lang="fr-CA" dirty="0"/>
              <a:t>3</a:t>
            </a:r>
            <a:endParaRPr dirty="0"/>
          </a:p>
          <a:p>
            <a:pPr lvl="6"/>
            <a:r>
              <a:rPr dirty="0"/>
              <a:t>Texte niveau </a:t>
            </a:r>
            <a:r>
              <a:rPr lang="fr-CA" dirty="0"/>
              <a:t>4</a:t>
            </a:r>
            <a:endParaRPr dirty="0"/>
          </a:p>
        </p:txBody>
      </p:sp>
      <p:sp>
        <p:nvSpPr>
          <p:cNvPr id="8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1085893" y="6369890"/>
            <a:ext cx="182217" cy="172815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atinLnBrk="0" hangingPunct="0"/>
            <a:fld id="{86CB4B4D-7CA3-9044-876B-883B54F8677D}" type="slidenum">
              <a:rPr kern="0">
                <a:solidFill>
                  <a:srgbClr val="82CFBE"/>
                </a:solidFill>
              </a:rPr>
              <a:pPr latinLnBrk="0" hangingPunct="0"/>
              <a:t>‹#›</a:t>
            </a:fld>
            <a:endParaRPr kern="0">
              <a:solidFill>
                <a:srgbClr val="82CFBE"/>
              </a:solidFill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0E627023-F35A-21D2-F681-06CBBBE1F7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0406" y="6057303"/>
            <a:ext cx="1281115" cy="80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623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  <p:sldLayoutId id="2147483880" r:id="rId15"/>
    <p:sldLayoutId id="2147483881" r:id="rId16"/>
    <p:sldLayoutId id="2147483882" r:id="rId17"/>
    <p:sldLayoutId id="2147483883" r:id="rId18"/>
    <p:sldLayoutId id="2147483884" r:id="rId19"/>
    <p:sldLayoutId id="2147483885" r:id="rId20"/>
    <p:sldLayoutId id="2147483886" r:id="rId21"/>
    <p:sldLayoutId id="2147483887" r:id="rId22"/>
    <p:sldLayoutId id="2147483888" r:id="rId23"/>
    <p:sldLayoutId id="2147483889" r:id="rId24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285750" marR="0" indent="-285750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Pct val="150000"/>
        <a:buFont typeface="Arial" charset="0"/>
        <a:buChar char="•"/>
        <a:tabLst/>
        <a:defRPr sz="2800" b="0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1pPr>
      <a:lvl2pPr marL="285750" marR="0" indent="-285750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charset="0"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2pPr>
      <a:lvl3pPr marL="717550" marR="0" indent="-203200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Pct val="150000"/>
        <a:buFont typeface="Arial" charset="0"/>
        <a:buChar char="•"/>
        <a:tabLst/>
        <a:defRPr sz="2000" b="0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3pPr>
      <a:lvl4pPr marL="533400" marR="0" indent="-239713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Pct val="150000"/>
        <a:buFont typeface="Arial" charset="0"/>
        <a:buChar char="•"/>
        <a:tabLst/>
        <a:defRPr sz="2400" b="0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4pPr>
      <a:lvl5pPr marL="285750" marR="0" indent="-285750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charset="0"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5pPr>
      <a:lvl6pPr marL="2514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6pPr>
      <a:lvl7pPr marL="1066800" marR="0" indent="-220663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50000"/>
        <a:buFont typeface="Arial" charset="0"/>
        <a:buChar char="•"/>
        <a:tabLst/>
        <a:defRPr sz="1800" b="0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7pPr>
      <a:lvl8pPr marL="34290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8pPr>
      <a:lvl9pPr marL="38862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970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="" xmlns:a16="http://schemas.microsoft.com/office/drawing/2014/main" id="{6C4B1249-5562-4E5D-9159-5BE507860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e think-cell" r:id="rId20" imgW="359" imgH="360" progId="TCLayout.ActiveDocument.1">
                  <p:embed/>
                </p:oleObj>
              </mc:Choice>
              <mc:Fallback>
                <p:oleObj name="Diapositive think-cell" r:id="rId20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4302CCBC-3DAE-4541-843B-DADBAE44EED4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96280" cy="96280"/>
          </a:xfrm>
          <a:prstGeom prst="rect">
            <a:avLst/>
          </a:prstGeom>
          <a:solidFill>
            <a:srgbClr val="003C5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CA" sz="2669" dirty="0">
              <a:solidFill>
                <a:srgbClr val="000000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57FCAFB2-166B-4780-85E6-CAEF1E595E5A}"/>
              </a:ext>
            </a:extLst>
          </p:cNvPr>
          <p:cNvSpPr/>
          <p:nvPr userDrawn="1"/>
        </p:nvSpPr>
        <p:spPr>
          <a:xfrm>
            <a:off x="-964" y="6169613"/>
            <a:ext cx="12192963" cy="688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5416" tIns="27707" rIns="55416" bIns="27707" rtlCol="0" anchor="ctr"/>
          <a:lstStyle/>
          <a:p>
            <a:pPr algn="ctr"/>
            <a:endParaRPr lang="en-US" sz="1092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2104" y="516059"/>
            <a:ext cx="10895732" cy="3772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CA" noProof="0" dirty="0"/>
              <a:t>Titre de la diapositiv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105" y="1739832"/>
            <a:ext cx="10895733" cy="37413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CA" noProof="0" dirty="0"/>
              <a:t>Texte premier niveau</a:t>
            </a:r>
          </a:p>
          <a:p>
            <a:pPr lvl="1"/>
            <a:r>
              <a:rPr lang="fr-CA" noProof="0" dirty="0"/>
              <a:t>Texte deuxième nivea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74051" y="6423414"/>
            <a:ext cx="573786" cy="1855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49">
                <a:solidFill>
                  <a:schemeClr val="tx1"/>
                </a:solidFill>
              </a:defRPr>
            </a:lvl1pPr>
          </a:lstStyle>
          <a:p>
            <a:fld id="{3DDD136B-64FC-6A41-8A4B-BCAFB6CA4887}" type="slidenum">
              <a:rPr lang="fr-CA" smtClean="0">
                <a:solidFill>
                  <a:srgbClr val="000000"/>
                </a:solidFill>
              </a:rPr>
              <a:pPr/>
              <a:t>‹#›</a:t>
            </a:fld>
            <a:endParaRPr lang="fr-CA" dirty="0">
              <a:solidFill>
                <a:srgbClr val="000000"/>
              </a:solidFill>
            </a:endParaRPr>
          </a:p>
        </p:txBody>
      </p:sp>
      <p:pic>
        <p:nvPicPr>
          <p:cNvPr id="12" name="Picture 136" descr="Résultats de recherche d'images pour « McGill Center for Intelligent Machines logo »">
            <a:extLst>
              <a:ext uri="{FF2B5EF4-FFF2-40B4-BE49-F238E27FC236}">
                <a16:creationId xmlns="" xmlns:a16="http://schemas.microsoft.com/office/drawing/2014/main" id="{A8442A3F-759D-41CB-87EF-AE95877B337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619" y="6326465"/>
            <a:ext cx="833291" cy="418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718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</p:sldLayoutIdLst>
  <p:hf hdr="0" dt="0"/>
  <p:txStyles>
    <p:titleStyle>
      <a:lvl1pPr algn="l" defTabSz="914398" rtl="0" eaLnBrk="1" latinLnBrk="0" hangingPunct="1">
        <a:lnSpc>
          <a:spcPct val="90000"/>
        </a:lnSpc>
        <a:spcBef>
          <a:spcPct val="0"/>
        </a:spcBef>
        <a:buNone/>
        <a:defRPr sz="2669" b="0" kern="1200" cap="all" spc="85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98" rtl="0" eaLnBrk="1" latinLnBrk="0" hangingPunct="1">
        <a:lnSpc>
          <a:spcPct val="110000"/>
        </a:lnSpc>
        <a:spcBef>
          <a:spcPts val="728"/>
        </a:spcBef>
        <a:spcAft>
          <a:spcPts val="364"/>
        </a:spcAft>
        <a:buFont typeface="Arial" panose="020B0604020202020204" pitchFamily="34" charset="0"/>
        <a:buNone/>
        <a:defRPr sz="1941" kern="1200">
          <a:solidFill>
            <a:schemeClr val="tx1"/>
          </a:solidFill>
          <a:latin typeface="+mn-lt"/>
          <a:ea typeface="+mn-ea"/>
          <a:cs typeface="+mn-cs"/>
        </a:defRPr>
      </a:lvl1pPr>
      <a:lvl2pPr marL="218340" indent="-218340" algn="l" defTabSz="914398" rtl="0" eaLnBrk="1" latinLnBrk="0" hangingPunct="1">
        <a:lnSpc>
          <a:spcPct val="110000"/>
        </a:lnSpc>
        <a:spcBef>
          <a:spcPts val="607"/>
        </a:spcBef>
        <a:buFont typeface="Arial" panose="020B0604020202020204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7" indent="-228600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6" indent="-228600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4pPr>
      <a:lvl5pPr marL="2057394" indent="-228600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5pPr>
      <a:lvl6pPr marL="2514593" indent="-228600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2" indent="-228600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0" indent="-228600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89" indent="-228600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9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8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6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5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4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2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91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0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66">
          <p15:clr>
            <a:srgbClr val="F26B43"/>
          </p15:clr>
        </p15:guide>
        <p15:guide id="3" pos="1537">
          <p15:clr>
            <a:srgbClr val="F26B43"/>
          </p15:clr>
        </p15:guide>
        <p15:guide id="4" pos="11994">
          <p15:clr>
            <a:srgbClr val="F26B43"/>
          </p15:clr>
        </p15:guide>
        <p15:guide id="7" pos="3885">
          <p15:clr>
            <a:srgbClr val="F26B43"/>
          </p15:clr>
        </p15:guide>
        <p15:guide id="9" pos="11398">
          <p15:clr>
            <a:srgbClr val="F26B43"/>
          </p15:clr>
        </p15:guide>
        <p15:guide id="10" orient="horz" pos="2444">
          <p15:clr>
            <a:srgbClr val="F26B43"/>
          </p15:clr>
        </p15:guide>
        <p15:guide id="11" orient="horz" pos="2824">
          <p15:clr>
            <a:srgbClr val="F26B43"/>
          </p15:clr>
        </p15:guide>
        <p15:guide id="12" orient="horz" pos="3125">
          <p15:clr>
            <a:srgbClr val="F26B43"/>
          </p15:clr>
        </p15:guide>
        <p15:guide id="13" orient="horz" pos="536">
          <p15:clr>
            <a:srgbClr val="F26B43"/>
          </p15:clr>
        </p15:guide>
        <p15:guide id="14" orient="horz" pos="6407">
          <p15:clr>
            <a:srgbClr val="F26B43"/>
          </p15:clr>
        </p15:guide>
        <p15:guide id="15" pos="7872">
          <p15:clr>
            <a:srgbClr val="F26B43"/>
          </p15:clr>
        </p15:guide>
        <p15:guide id="16" orient="horz" pos="1190">
          <p15:clr>
            <a:srgbClr val="F26B43"/>
          </p15:clr>
        </p15:guide>
        <p15:guide id="17" pos="8003">
          <p15:clr>
            <a:srgbClr val="F26B43"/>
          </p15:clr>
        </p15:guide>
        <p15:guide id="18" orient="horz" pos="885">
          <p15:clr>
            <a:srgbClr val="F26B43"/>
          </p15:clr>
        </p15:guide>
        <p15:guide id="19" orient="horz" pos="569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9" descr="Image 9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0" y="0"/>
            <a:ext cx="12192000" cy="6873903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Image 7" descr="Image 7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779924" y="6217846"/>
            <a:ext cx="927303" cy="37728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Connecteur droit 8"/>
          <p:cNvSpPr/>
          <p:nvPr/>
        </p:nvSpPr>
        <p:spPr>
          <a:xfrm>
            <a:off x="798969" y="1298221"/>
            <a:ext cx="1023342" cy="4"/>
          </a:xfrm>
          <a:prstGeom prst="line">
            <a:avLst/>
          </a:prstGeom>
          <a:ln w="88900">
            <a:solidFill>
              <a:schemeClr val="accent2"/>
            </a:solidFill>
            <a:miter/>
          </a:ln>
        </p:spPr>
        <p:txBody>
          <a:bodyPr lIns="45718" tIns="45718" rIns="45718" bIns="45718"/>
          <a:lstStyle/>
          <a:p>
            <a:pPr latinLnBrk="0" hangingPunct="0"/>
            <a:endParaRPr kern="0">
              <a:solidFill>
                <a:srgbClr val="6D006D"/>
              </a:solidFill>
              <a:sym typeface="Helvetica"/>
            </a:endParaRPr>
          </a:p>
        </p:txBody>
      </p:sp>
      <p:sp>
        <p:nvSpPr>
          <p:cNvPr id="6" name="Texte du titre"/>
          <p:cNvSpPr txBox="1">
            <a:spLocks noGrp="1"/>
          </p:cNvSpPr>
          <p:nvPr>
            <p:ph type="title"/>
          </p:nvPr>
        </p:nvSpPr>
        <p:spPr>
          <a:xfrm>
            <a:off x="798969" y="200995"/>
            <a:ext cx="10515601" cy="8962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 anchor="b">
            <a:normAutofit/>
          </a:bodyPr>
          <a:lstStyle/>
          <a:p>
            <a:r>
              <a:t>Texte du titre</a:t>
            </a:r>
          </a:p>
        </p:txBody>
      </p:sp>
      <p:sp>
        <p:nvSpPr>
          <p:cNvPr id="7" name="Texte niveau 1…"/>
          <p:cNvSpPr txBox="1">
            <a:spLocks noGrp="1"/>
          </p:cNvSpPr>
          <p:nvPr>
            <p:ph type="body" idx="1"/>
          </p:nvPr>
        </p:nvSpPr>
        <p:spPr>
          <a:xfrm>
            <a:off x="822960" y="1836000"/>
            <a:ext cx="10515601" cy="435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rPr dirty="0"/>
              <a:t>Texte niveau 1</a:t>
            </a:r>
          </a:p>
          <a:p>
            <a:pPr lvl="3"/>
            <a:r>
              <a:rPr dirty="0"/>
              <a:t>Texte niveau</a:t>
            </a:r>
            <a:r>
              <a:rPr lang="fr-CA" dirty="0"/>
              <a:t> 2</a:t>
            </a:r>
            <a:r>
              <a:rPr dirty="0"/>
              <a:t> </a:t>
            </a:r>
          </a:p>
          <a:p>
            <a:pPr lvl="2"/>
            <a:r>
              <a:rPr dirty="0"/>
              <a:t>Texte niveau </a:t>
            </a:r>
            <a:r>
              <a:rPr lang="fr-CA" dirty="0"/>
              <a:t>3</a:t>
            </a:r>
            <a:endParaRPr dirty="0"/>
          </a:p>
          <a:p>
            <a:pPr lvl="6"/>
            <a:r>
              <a:rPr dirty="0"/>
              <a:t>Texte niveau </a:t>
            </a:r>
            <a:r>
              <a:rPr lang="fr-CA" dirty="0"/>
              <a:t>4</a:t>
            </a:r>
            <a:endParaRPr dirty="0"/>
          </a:p>
        </p:txBody>
      </p:sp>
      <p:sp>
        <p:nvSpPr>
          <p:cNvPr id="8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1085893" y="6369890"/>
            <a:ext cx="182217" cy="172815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2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atinLnBrk="0" hangingPunct="0"/>
            <a:fld id="{86CB4B4D-7CA3-9044-876B-883B54F8677D}" type="slidenum">
              <a:rPr kern="0">
                <a:solidFill>
                  <a:srgbClr val="82CFBE"/>
                </a:solidFill>
              </a:rPr>
              <a:pPr latinLnBrk="0" hangingPunct="0"/>
              <a:t>‹#›</a:t>
            </a:fld>
            <a:endParaRPr kern="0">
              <a:solidFill>
                <a:srgbClr val="82CF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71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  <p:sldLayoutId id="2147484023" r:id="rId11"/>
    <p:sldLayoutId id="2147484024" r:id="rId12"/>
    <p:sldLayoutId id="2147484025" r:id="rId13"/>
    <p:sldLayoutId id="2147484026" r:id="rId14"/>
    <p:sldLayoutId id="2147484027" r:id="rId15"/>
    <p:sldLayoutId id="2147484028" r:id="rId16"/>
    <p:sldLayoutId id="2147484029" r:id="rId17"/>
    <p:sldLayoutId id="2147484030" r:id="rId18"/>
    <p:sldLayoutId id="2147484031" r:id="rId19"/>
    <p:sldLayoutId id="2147484032" r:id="rId20"/>
    <p:sldLayoutId id="2147484033" r:id="rId21"/>
    <p:sldLayoutId id="2147484034" r:id="rId22"/>
    <p:sldLayoutId id="2147484035" r:id="rId23"/>
    <p:sldLayoutId id="2147484036" r:id="rId24"/>
    <p:sldLayoutId id="2147484037" r:id="rId25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285750" marR="0" indent="-285750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Pct val="150000"/>
        <a:buFont typeface="Arial" charset="0"/>
        <a:buChar char="•"/>
        <a:tabLst/>
        <a:defRPr sz="2800" b="0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1pPr>
      <a:lvl2pPr marL="285750" marR="0" indent="-285750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charset="0"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2pPr>
      <a:lvl3pPr marL="717550" marR="0" indent="-203200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Pct val="150000"/>
        <a:buFont typeface="Arial" charset="0"/>
        <a:buChar char="•"/>
        <a:tabLst/>
        <a:defRPr sz="2000" b="0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3pPr>
      <a:lvl4pPr marL="533400" marR="0" indent="-239713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Pct val="150000"/>
        <a:buFont typeface="Arial" charset="0"/>
        <a:buChar char="•"/>
        <a:tabLst/>
        <a:defRPr sz="2400" b="0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4pPr>
      <a:lvl5pPr marL="285750" marR="0" indent="-285750" algn="l" defTabSz="914400" rtl="0" latinLnBrk="0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charset="0"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5pPr>
      <a:lvl6pPr marL="2514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6pPr>
      <a:lvl7pPr marL="1066800" marR="0" indent="-220663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50000"/>
        <a:buFont typeface="Arial" charset="0"/>
        <a:buChar char="•"/>
        <a:tabLst/>
        <a:defRPr sz="1800" b="0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7pPr>
      <a:lvl8pPr marL="34290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8pPr>
      <a:lvl9pPr marL="38862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1800" b="1" i="0" u="none" strike="noStrike" cap="none" spc="0" baseline="0">
          <a:solidFill>
            <a:schemeClr val="accent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3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23"/>
          <p:cNvSpPr txBox="1">
            <a:spLocks noGrp="1"/>
          </p:cNvSpPr>
          <p:nvPr>
            <p:ph type="dt" idx="10"/>
          </p:nvPr>
        </p:nvSpPr>
        <p:spPr>
          <a:xfrm>
            <a:off x="1833623" y="6325323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914398"/>
            <a:endParaRPr lang="fr-FR" kern="0"/>
          </a:p>
        </p:txBody>
      </p:sp>
      <p:sp>
        <p:nvSpPr>
          <p:cNvPr id="13" name="Google Shape;13;p23"/>
          <p:cNvSpPr txBox="1">
            <a:spLocks noGrp="1"/>
          </p:cNvSpPr>
          <p:nvPr>
            <p:ph type="ftr" idx="11"/>
          </p:nvPr>
        </p:nvSpPr>
        <p:spPr>
          <a:xfrm>
            <a:off x="4576823" y="6346623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914398"/>
            <a:endParaRPr lang="fr-FR" kern="0"/>
          </a:p>
        </p:txBody>
      </p:sp>
      <p:sp>
        <p:nvSpPr>
          <p:cNvPr id="14" name="Google Shape;14;p2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914398"/>
            <a:fld id="{00000000-1234-1234-1234-123412341234}" type="slidenum">
              <a:rPr lang="uk-UA" kern="0" smtClean="0"/>
              <a:pPr defTabSz="914398"/>
              <a:t>‹#›</a:t>
            </a:fld>
            <a:endParaRPr lang="uk-UA" kern="0"/>
          </a:p>
        </p:txBody>
      </p:sp>
      <p:pic>
        <p:nvPicPr>
          <p:cNvPr id="15" name="Google Shape;15;p23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70744" y="6032667"/>
            <a:ext cx="1522701" cy="7647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355920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gif"/><Relationship Id="rId5" Type="http://schemas.openxmlformats.org/officeDocument/2006/relationships/image" Target="../media/image19.png"/><Relationship Id="rId6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image" Target="../media/image23.emf"/><Relationship Id="rId3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hyperlink" Target="https://ojs.aaai.org/aimagazine/index.php/aimagazine/article/view/15084" TargetMode="External"/><Relationship Id="rId3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tiff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image" Target="../media/image27.tiff"/><Relationship Id="rId7" Type="http://schemas.openxmlformats.org/officeDocument/2006/relationships/image" Target="../media/image28.png"/><Relationship Id="rId1" Type="http://schemas.openxmlformats.org/officeDocument/2006/relationships/slideLayout" Target="../slideLayouts/slideLayout50.xml"/><Relationship Id="rId2" Type="http://schemas.openxmlformats.org/officeDocument/2006/relationships/notesSlide" Target="../notesSlides/notesSlide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4" Type="http://schemas.openxmlformats.org/officeDocument/2006/relationships/image" Target="../media/image31.emf"/><Relationship Id="rId5" Type="http://schemas.openxmlformats.org/officeDocument/2006/relationships/image" Target="../media/image32.emf"/><Relationship Id="rId6" Type="http://schemas.openxmlformats.org/officeDocument/2006/relationships/image" Target="../media/image33.emf"/><Relationship Id="rId7" Type="http://schemas.openxmlformats.org/officeDocument/2006/relationships/image" Target="../media/image34.emf"/><Relationship Id="rId1" Type="http://schemas.openxmlformats.org/officeDocument/2006/relationships/slideLayout" Target="../slideLayouts/slideLayout54.xml"/><Relationship Id="rId2" Type="http://schemas.openxmlformats.org/officeDocument/2006/relationships/image" Target="../media/image29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openxmlformats.org/officeDocument/2006/relationships/image" Target="../media/image37.png"/><Relationship Id="rId1" Type="http://schemas.openxmlformats.org/officeDocument/2006/relationships/slideLayout" Target="../slideLayouts/slideLayout75.xml"/><Relationship Id="rId2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Relationship Id="rId2" Type="http://schemas.openxmlformats.org/officeDocument/2006/relationships/image" Target="../media/image38.tif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image" Target="../media/image39.emf"/><Relationship Id="rId3" Type="http://schemas.openxmlformats.org/officeDocument/2006/relationships/image" Target="../media/image4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4" Type="http://schemas.openxmlformats.org/officeDocument/2006/relationships/image" Target="../media/image43.emf"/><Relationship Id="rId5" Type="http://schemas.openxmlformats.org/officeDocument/2006/relationships/image" Target="../media/image44.emf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4" Type="http://schemas.openxmlformats.org/officeDocument/2006/relationships/image" Target="../media/image47.emf"/><Relationship Id="rId5" Type="http://schemas.openxmlformats.org/officeDocument/2006/relationships/image" Target="../media/image48.emf"/><Relationship Id="rId6" Type="http://schemas.openxmlformats.org/officeDocument/2006/relationships/image" Target="../media/image49.emf"/><Relationship Id="rId7" Type="http://schemas.openxmlformats.org/officeDocument/2006/relationships/image" Target="../media/image50.emf"/><Relationship Id="rId8" Type="http://schemas.openxmlformats.org/officeDocument/2006/relationships/image" Target="../media/image51.emf"/><Relationship Id="rId9" Type="http://schemas.openxmlformats.org/officeDocument/2006/relationships/image" Target="../media/image52.emf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4" Type="http://schemas.openxmlformats.org/officeDocument/2006/relationships/image" Target="../media/image54.tiff"/><Relationship Id="rId5" Type="http://schemas.openxmlformats.org/officeDocument/2006/relationships/image" Target="../media/image55.tiff"/><Relationship Id="rId6" Type="http://schemas.openxmlformats.org/officeDocument/2006/relationships/image" Target="../media/image56.tiff"/><Relationship Id="rId7" Type="http://schemas.openxmlformats.org/officeDocument/2006/relationships/image" Target="../media/image57.tiff"/><Relationship Id="rId8" Type="http://schemas.openxmlformats.org/officeDocument/2006/relationships/image" Target="../media/image58.tiff"/><Relationship Id="rId9" Type="http://schemas.openxmlformats.org/officeDocument/2006/relationships/image" Target="../media/image59.tiff"/><Relationship Id="rId1" Type="http://schemas.openxmlformats.org/officeDocument/2006/relationships/slideLayout" Target="../slideLayouts/slideLayout91.xml"/><Relationship Id="rId2" Type="http://schemas.openxmlformats.org/officeDocument/2006/relationships/notesSlide" Target="../notesSlides/notesSlide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60.emf"/><Relationship Id="rId1" Type="http://schemas.openxmlformats.org/officeDocument/2006/relationships/slideLayout" Target="../slideLayouts/slideLayout116.xml"/><Relationship Id="rId2" Type="http://schemas.openxmlformats.org/officeDocument/2006/relationships/notesSlide" Target="../notesSlides/notesSlide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NULL" TargetMode="External"/><Relationship Id="rId4" Type="http://schemas.openxmlformats.org/officeDocument/2006/relationships/hyperlink" Target="http://yoshuabengio.org/gflownet-tutorial" TargetMode="External"/><Relationship Id="rId1" Type="http://schemas.openxmlformats.org/officeDocument/2006/relationships/slideLayout" Target="../slideLayouts/slideLayout117.xml"/><Relationship Id="rId2" Type="http://schemas.openxmlformats.org/officeDocument/2006/relationships/notesSlide" Target="../notesSlides/notesSlide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61.png"/><Relationship Id="rId3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0" name="Google Shape;1110;p58"/>
          <p:cNvSpPr txBox="1">
            <a:spLocks noGrp="1"/>
          </p:cNvSpPr>
          <p:nvPr>
            <p:ph type="ctrTitle"/>
          </p:nvPr>
        </p:nvSpPr>
        <p:spPr>
          <a:xfrm>
            <a:off x="5606002" y="1384351"/>
            <a:ext cx="6391383" cy="27398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lvl="0" algn="ctr"/>
            <a:r>
              <a:rPr lang="fr-FR" sz="4800" dirty="0" err="1" smtClean="0"/>
              <a:t>Towards</a:t>
            </a:r>
            <a:r>
              <a:rPr lang="fr-FR" sz="4800" dirty="0" smtClean="0"/>
              <a:t> Quantitative </a:t>
            </a:r>
            <a:r>
              <a:rPr lang="fr-FR" sz="4800" dirty="0" err="1" smtClean="0"/>
              <a:t>Safety</a:t>
            </a:r>
            <a:r>
              <a:rPr lang="fr-FR" sz="4800" dirty="0" smtClean="0"/>
              <a:t> </a:t>
            </a:r>
            <a:r>
              <a:rPr lang="fr-FR" sz="4800" dirty="0" err="1" smtClean="0"/>
              <a:t>Guarantees</a:t>
            </a:r>
            <a:r>
              <a:rPr lang="fr-FR" sz="4800" dirty="0" smtClean="0"/>
              <a:t> and </a:t>
            </a:r>
            <a:r>
              <a:rPr lang="fr-FR" sz="4800" dirty="0" err="1" smtClean="0"/>
              <a:t>Alignment</a:t>
            </a:r>
            <a:endParaRPr sz="4800" dirty="0"/>
          </a:p>
        </p:txBody>
      </p:sp>
      <p:sp>
        <p:nvSpPr>
          <p:cNvPr id="1111" name="Google Shape;1111;p58"/>
          <p:cNvSpPr txBox="1">
            <a:spLocks noGrp="1"/>
          </p:cNvSpPr>
          <p:nvPr>
            <p:ph type="subTitle" idx="1"/>
          </p:nvPr>
        </p:nvSpPr>
        <p:spPr>
          <a:xfrm>
            <a:off x="7341704" y="4091672"/>
            <a:ext cx="4337296" cy="12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/>
            <a:r>
              <a:rPr lang="fr" sz="4000" dirty="0"/>
              <a:t>Yoshua Bengio</a:t>
            </a:r>
            <a:endParaRPr sz="4000" dirty="0"/>
          </a:p>
        </p:txBody>
      </p:sp>
      <p:pic>
        <p:nvPicPr>
          <p:cNvPr id="1112" name="Google Shape;1112;p58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0" r="-10"/>
          <a:stretch/>
        </p:blipFill>
        <p:spPr>
          <a:xfrm>
            <a:off x="632901" y="1238401"/>
            <a:ext cx="4456564" cy="4132433"/>
          </a:xfrm>
          <a:prstGeom prst="rect">
            <a:avLst/>
          </a:prstGeom>
          <a:noFill/>
          <a:ln>
            <a:noFill/>
          </a:ln>
        </p:spPr>
      </p:pic>
      <p:sp>
        <p:nvSpPr>
          <p:cNvPr id="1113" name="Google Shape;1113;p58"/>
          <p:cNvSpPr txBox="1"/>
          <p:nvPr/>
        </p:nvSpPr>
        <p:spPr>
          <a:xfrm>
            <a:off x="7564582" y="480800"/>
            <a:ext cx="4114551" cy="6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algn="r" latinLnBrk="0">
              <a:buClr>
                <a:srgbClr val="000000"/>
              </a:buClr>
              <a:buSzPts val="1100"/>
              <a:buFont typeface="Arial"/>
              <a:buNone/>
            </a:pPr>
            <a:r>
              <a:rPr lang="fr-CA" sz="2000" kern="0" dirty="0" err="1">
                <a:solidFill>
                  <a:srgbClr val="FFFFFF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Decem</a:t>
            </a:r>
            <a:r>
              <a:rPr lang="fr" sz="2000" kern="0" dirty="0">
                <a:solidFill>
                  <a:srgbClr val="FFFFFF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ber </a:t>
            </a:r>
            <a:r>
              <a:rPr lang="fr-CA" sz="2000" kern="0" dirty="0" smtClean="0">
                <a:solidFill>
                  <a:srgbClr val="FFFFFF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11th</a:t>
            </a:r>
            <a:r>
              <a:rPr lang="fr" sz="2000" kern="0" dirty="0" smtClean="0">
                <a:solidFill>
                  <a:srgbClr val="FFFFFF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, </a:t>
            </a:r>
            <a:r>
              <a:rPr lang="fr" sz="2000" kern="0" dirty="0">
                <a:solidFill>
                  <a:srgbClr val="FFFFFF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2023</a:t>
            </a:r>
          </a:p>
          <a:p>
            <a:pPr algn="r" latinLnBrk="0">
              <a:buClr>
                <a:srgbClr val="000000"/>
              </a:buClr>
              <a:buSzPts val="1100"/>
              <a:buFont typeface="Arial"/>
              <a:buNone/>
            </a:pPr>
            <a:r>
              <a:rPr lang="fr-CA" sz="2000" kern="0" dirty="0" err="1" smtClean="0">
                <a:solidFill>
                  <a:srgbClr val="FFFFFF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Alignment</a:t>
            </a:r>
            <a:r>
              <a:rPr lang="fr-CA" sz="2000" kern="0" dirty="0" smtClean="0">
                <a:solidFill>
                  <a:srgbClr val="FFFFFF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 Workshop, New </a:t>
            </a:r>
            <a:r>
              <a:rPr lang="fr-CA" sz="2000" kern="0" dirty="0" err="1" smtClean="0">
                <a:solidFill>
                  <a:srgbClr val="FFFFFF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Orleans</a:t>
            </a:r>
            <a:endParaRPr sz="2000" kern="0" dirty="0">
              <a:solidFill>
                <a:srgbClr val="FFFFFF"/>
              </a:solidFill>
              <a:latin typeface="Work Sans Medium"/>
              <a:ea typeface="Work Sans Medium"/>
              <a:cs typeface="Work Sans Medium"/>
              <a:sym typeface="Work Sans Medium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xmlns="" id="{FD3AB32A-989B-CB25-7E7A-8CA23B5135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4345" y="5215327"/>
            <a:ext cx="2790881" cy="131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oogle Shape;15;p2">
            <a:extLst>
              <a:ext uri="{FF2B5EF4-FFF2-40B4-BE49-F238E27FC236}">
                <a16:creationId xmlns:a16="http://schemas.microsoft.com/office/drawing/2014/main" xmlns="" id="{DC2602E9-BF26-C018-4EA0-E1F9B51923FE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285674" y="5298072"/>
            <a:ext cx="3273425" cy="1091142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80;p1">
            <a:extLst>
              <a:ext uri="{FF2B5EF4-FFF2-40B4-BE49-F238E27FC236}">
                <a16:creationId xmlns:a16="http://schemas.microsoft.com/office/drawing/2014/main" xmlns="" id="{CABEA2CB-1FA6-F5F9-9829-F2010D154822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631891" y="5616070"/>
            <a:ext cx="2457574" cy="8799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6258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57153"/>
            <a:ext cx="10515600" cy="1325563"/>
          </a:xfrm>
        </p:spPr>
        <p:txBody>
          <a:bodyPr/>
          <a:lstStyle/>
          <a:p>
            <a:r>
              <a:rPr lang="en-CA" dirty="0"/>
              <a:t>Democratic governance of non-profit non-governmental countermeasures AI labs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582737"/>
            <a:ext cx="10515600" cy="4689475"/>
          </a:xfrm>
        </p:spPr>
        <p:txBody>
          <a:bodyPr/>
          <a:lstStyle/>
          <a:p>
            <a:r>
              <a:rPr lang="en-CA" sz="2133" b="1" dirty="0"/>
              <a:t>Why non-profit but government-funded?</a:t>
            </a:r>
          </a:p>
          <a:p>
            <a:pPr lvl="1"/>
            <a:r>
              <a:rPr lang="en-CA" dirty="0"/>
              <a:t>Profit maximization = </a:t>
            </a:r>
            <a:r>
              <a:rPr lang="en-CA" dirty="0">
                <a:solidFill>
                  <a:srgbClr val="FF0000"/>
                </a:solidFill>
              </a:rPr>
              <a:t>economic dominance</a:t>
            </a:r>
          </a:p>
          <a:p>
            <a:pPr lvl="1"/>
            <a:r>
              <a:rPr lang="en-CA" dirty="0"/>
              <a:t>Profit maximization </a:t>
            </a:r>
            <a:r>
              <a:rPr lang="en-CA" dirty="0">
                <a:solidFill>
                  <a:srgbClr val="FF0000"/>
                </a:solidFill>
              </a:rPr>
              <a:t>conflicts with safety &amp; democratic governance</a:t>
            </a:r>
          </a:p>
          <a:p>
            <a:pPr lvl="1"/>
            <a:r>
              <a:rPr lang="en-CA" dirty="0"/>
              <a:t>Economic competition among labs = </a:t>
            </a:r>
            <a:r>
              <a:rPr lang="en-CA" dirty="0">
                <a:solidFill>
                  <a:srgbClr val="FF0000"/>
                </a:solidFill>
              </a:rPr>
              <a:t>not sharing results </a:t>
            </a:r>
            <a:r>
              <a:rPr lang="en-CA" dirty="0"/>
              <a:t>= greater danger of catastrophic single point of failure</a:t>
            </a:r>
          </a:p>
          <a:p>
            <a:pPr lvl="1"/>
            <a:endParaRPr lang="en-CA" dirty="0"/>
          </a:p>
          <a:p>
            <a:r>
              <a:rPr lang="en-CA" sz="2133" b="1" dirty="0"/>
              <a:t>Why non-governmental &amp;multilaterally funded?</a:t>
            </a:r>
          </a:p>
          <a:p>
            <a:pPr lvl="1"/>
            <a:r>
              <a:rPr lang="en-CA" dirty="0"/>
              <a:t>Gov. admin. too rigid &amp; constrained, </a:t>
            </a:r>
            <a:r>
              <a:rPr lang="en-CA" dirty="0">
                <a:solidFill>
                  <a:srgbClr val="FF0000"/>
                </a:solidFill>
              </a:rPr>
              <a:t>need </a:t>
            </a:r>
            <a:r>
              <a:rPr lang="en-CA" dirty="0" err="1">
                <a:solidFill>
                  <a:srgbClr val="FF0000"/>
                </a:solidFill>
              </a:rPr>
              <a:t>startup</a:t>
            </a:r>
            <a:r>
              <a:rPr lang="en-CA" dirty="0">
                <a:solidFill>
                  <a:srgbClr val="FF0000"/>
                </a:solidFill>
              </a:rPr>
              <a:t>-like </a:t>
            </a:r>
            <a:r>
              <a:rPr lang="en-CA" dirty="0" smtClean="0">
                <a:solidFill>
                  <a:srgbClr val="FF0000"/>
                </a:solidFill>
              </a:rPr>
              <a:t>environments</a:t>
            </a:r>
            <a:endParaRPr lang="en-CA" dirty="0">
              <a:solidFill>
                <a:srgbClr val="FF0000"/>
              </a:solidFill>
            </a:endParaRPr>
          </a:p>
          <a:p>
            <a:pPr lvl="1"/>
            <a:r>
              <a:rPr lang="en-CA" dirty="0"/>
              <a:t>Risk of takeover by </a:t>
            </a:r>
            <a:r>
              <a:rPr lang="en-CA" dirty="0">
                <a:solidFill>
                  <a:srgbClr val="FF0000"/>
                </a:solidFill>
              </a:rPr>
              <a:t>power-seeking government</a:t>
            </a:r>
          </a:p>
          <a:p>
            <a:pPr lvl="1"/>
            <a:r>
              <a:rPr lang="en-CA" dirty="0"/>
              <a:t>Reduce risk of </a:t>
            </a:r>
            <a:r>
              <a:rPr lang="en-CA" dirty="0">
                <a:solidFill>
                  <a:srgbClr val="FF0000"/>
                </a:solidFill>
              </a:rPr>
              <a:t>country-level AI race</a:t>
            </a:r>
            <a:r>
              <a:rPr lang="en-CA" dirty="0"/>
              <a:t> by setting defense goals only</a:t>
            </a:r>
          </a:p>
          <a:p>
            <a:pPr lvl="1"/>
            <a:r>
              <a:rPr lang="en-CA" dirty="0"/>
              <a:t>Lab must follow </a:t>
            </a:r>
            <a:r>
              <a:rPr lang="en-CA" dirty="0">
                <a:solidFill>
                  <a:srgbClr val="FF0000"/>
                </a:solidFill>
              </a:rPr>
              <a:t>multilaterally decided </a:t>
            </a:r>
            <a:r>
              <a:rPr lang="en-CA" dirty="0"/>
              <a:t>democratic governance</a:t>
            </a:r>
          </a:p>
          <a:p>
            <a:pPr lvl="1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700471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85660" y="114279"/>
            <a:ext cx="11237002" cy="1325563"/>
          </a:xfrm>
        </p:spPr>
        <p:txBody>
          <a:bodyPr/>
          <a:lstStyle/>
          <a:p>
            <a:pPr latinLnBrk="0"/>
            <a:r>
              <a:rPr lang="en-CA" dirty="0">
                <a:solidFill>
                  <a:srgbClr val="7030A0"/>
                </a:solidFill>
              </a:rPr>
              <a:t>The danger with RL and maximizing rewards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906496" cy="4351338"/>
          </a:xfrm>
        </p:spPr>
        <p:txBody>
          <a:bodyPr/>
          <a:lstStyle/>
          <a:p>
            <a:pPr latinLnBrk="0">
              <a:buClr>
                <a:srgbClr val="7030A0"/>
              </a:buClr>
            </a:pPr>
            <a:r>
              <a:rPr lang="en-CA" dirty="0"/>
              <a:t>Estimated value/reward/model could be wrong</a:t>
            </a:r>
          </a:p>
          <a:p>
            <a:pPr latinLnBrk="0">
              <a:buClr>
                <a:srgbClr val="7030A0"/>
              </a:buClr>
            </a:pPr>
            <a:endParaRPr lang="en-CA" dirty="0"/>
          </a:p>
          <a:p>
            <a:pPr latinLnBrk="0">
              <a:buClr>
                <a:srgbClr val="7030A0"/>
              </a:buClr>
            </a:pPr>
            <a:r>
              <a:rPr lang="en-CA" dirty="0"/>
              <a:t>Greatest misalignment danger: </a:t>
            </a:r>
            <a:r>
              <a:rPr lang="en-CA" i="1" dirty="0"/>
              <a:t>great harm seen as great reward</a:t>
            </a:r>
          </a:p>
          <a:p>
            <a:pPr latinLnBrk="0">
              <a:buClr>
                <a:srgbClr val="7030A0"/>
              </a:buClr>
            </a:pPr>
            <a:endParaRPr lang="en-CA" dirty="0"/>
          </a:p>
          <a:p>
            <a:pPr latinLnBrk="0">
              <a:buClr>
                <a:srgbClr val="7030A0"/>
              </a:buClr>
            </a:pPr>
            <a:r>
              <a:rPr lang="en-CA" sz="3600" b="1" dirty="0">
                <a:solidFill>
                  <a:srgbClr val="FF0000"/>
                </a:solidFill>
              </a:rPr>
              <a:t>Maximizing reward </a:t>
            </a:r>
          </a:p>
          <a:p>
            <a:pPr marL="0" indent="0" latinLnBrk="0">
              <a:buClr>
                <a:srgbClr val="7030A0"/>
              </a:buClr>
              <a:buNone/>
            </a:pPr>
            <a:r>
              <a:rPr lang="en-CA" sz="3600" b="1" dirty="0">
                <a:solidFill>
                  <a:srgbClr val="FF0000"/>
                </a:solidFill>
                <a:sym typeface="Wingdings"/>
              </a:rPr>
              <a:t>	</a:t>
            </a:r>
            <a:r>
              <a:rPr lang="en-CA" sz="3600" b="1" dirty="0">
                <a:solidFill>
                  <a:srgbClr val="7030A0"/>
                </a:solidFill>
                <a:sym typeface="Wingdings"/>
              </a:rPr>
              <a:t></a:t>
            </a:r>
            <a:r>
              <a:rPr lang="en-CA" sz="3600" b="1" dirty="0">
                <a:solidFill>
                  <a:srgbClr val="FF0000"/>
                </a:solidFill>
                <a:sym typeface="Wingdings"/>
              </a:rPr>
              <a:t> likely to discover such major mismatches 		</a:t>
            </a:r>
          </a:p>
          <a:p>
            <a:pPr marL="0" indent="0" latinLnBrk="0">
              <a:buClr>
                <a:srgbClr val="7030A0"/>
              </a:buClr>
              <a:buNone/>
            </a:pPr>
            <a:r>
              <a:rPr lang="en-CA" sz="3600" b="1" dirty="0">
                <a:solidFill>
                  <a:srgbClr val="FF0000"/>
                </a:solidFill>
                <a:sym typeface="Wingdings"/>
              </a:rPr>
              <a:t>	</a:t>
            </a:r>
            <a:r>
              <a:rPr lang="en-CA" sz="3600" b="1" dirty="0">
                <a:solidFill>
                  <a:srgbClr val="7030A0"/>
                </a:solidFill>
                <a:sym typeface="Wingdings"/>
              </a:rPr>
              <a:t></a:t>
            </a:r>
            <a:r>
              <a:rPr lang="en-CA" sz="3600" b="1" dirty="0">
                <a:solidFill>
                  <a:srgbClr val="FF0000"/>
                </a:solidFill>
                <a:sym typeface="Wingdings"/>
              </a:rPr>
              <a:t> amplifies misalignment!</a:t>
            </a:r>
            <a:endParaRPr lang="en-CA" sz="3600" b="1" dirty="0">
              <a:solidFill>
                <a:srgbClr val="FF0000"/>
              </a:solidFill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ED92D9D6-88AA-CE36-7867-AF92081E7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075" y="6071589"/>
            <a:ext cx="1281115" cy="80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3795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12800" y="0"/>
            <a:ext cx="10515600" cy="1325563"/>
          </a:xfrm>
        </p:spPr>
        <p:txBody>
          <a:bodyPr/>
          <a:lstStyle/>
          <a:p>
            <a:pPr latinLnBrk="0"/>
            <a:r>
              <a:rPr lang="en-CA" dirty="0" smtClean="0">
                <a:solidFill>
                  <a:srgbClr val="7030A0"/>
                </a:solidFill>
              </a:rPr>
              <a:t>RL evil: Maximizing </a:t>
            </a:r>
            <a:r>
              <a:rPr lang="en-CA" dirty="0">
                <a:solidFill>
                  <a:srgbClr val="7030A0"/>
                </a:solidFill>
              </a:rPr>
              <a:t>misalignment 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1615" y="710156"/>
            <a:ext cx="8677560" cy="3340100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40BDB007-97E6-BB8D-1A9A-2EB4A4FE6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075" y="6071589"/>
            <a:ext cx="1281115" cy="80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12800" y="1070584"/>
            <a:ext cx="10515600" cy="4351338"/>
          </a:xfrm>
        </p:spPr>
        <p:txBody>
          <a:bodyPr/>
          <a:lstStyle/>
          <a:p>
            <a:pPr latinLnBrk="0">
              <a:buClr>
                <a:srgbClr val="7030A0"/>
              </a:buClr>
            </a:pPr>
            <a:r>
              <a:rPr lang="en-CA" dirty="0"/>
              <a:t>Consider two functions: </a:t>
            </a:r>
          </a:p>
          <a:p>
            <a:pPr lvl="1" latinLnBrk="0">
              <a:buClr>
                <a:srgbClr val="7030A0"/>
              </a:buClr>
            </a:pPr>
            <a:r>
              <a:rPr lang="en-CA" dirty="0">
                <a:solidFill>
                  <a:srgbClr val="00B050"/>
                </a:solidFill>
              </a:rPr>
              <a:t>the real </a:t>
            </a:r>
            <a:r>
              <a:rPr lang="en-CA" dirty="0"/>
              <a:t>&amp; </a:t>
            </a:r>
            <a:r>
              <a:rPr lang="en-CA" dirty="0">
                <a:solidFill>
                  <a:srgbClr val="FF0000"/>
                </a:solidFill>
              </a:rPr>
              <a:t>the estimated reward functions</a:t>
            </a:r>
            <a:r>
              <a:rPr lang="en-CA" dirty="0">
                <a:solidFill>
                  <a:srgbClr val="00B050"/>
                </a:solidFill>
              </a:rPr>
              <a:t>.</a:t>
            </a:r>
          </a:p>
          <a:p>
            <a:pPr lvl="1" latinLnBrk="0">
              <a:buClr>
                <a:srgbClr val="7030A0"/>
              </a:buClr>
            </a:pPr>
            <a:endParaRPr lang="en-CA" dirty="0">
              <a:solidFill>
                <a:srgbClr val="00B050"/>
              </a:solidFill>
            </a:endParaRPr>
          </a:p>
          <a:p>
            <a:pPr lvl="1" latinLnBrk="0">
              <a:buClr>
                <a:srgbClr val="7030A0"/>
              </a:buClr>
            </a:pPr>
            <a:endParaRPr lang="en-CA" dirty="0">
              <a:solidFill>
                <a:srgbClr val="00B050"/>
              </a:solidFill>
            </a:endParaRPr>
          </a:p>
          <a:p>
            <a:pPr lvl="1" latinLnBrk="0">
              <a:buClr>
                <a:srgbClr val="7030A0"/>
              </a:buClr>
            </a:pPr>
            <a:endParaRPr lang="en-CA" dirty="0">
              <a:solidFill>
                <a:srgbClr val="00B050"/>
              </a:solidFill>
            </a:endParaRPr>
          </a:p>
          <a:p>
            <a:pPr lvl="1" latinLnBrk="0">
              <a:buClr>
                <a:srgbClr val="7030A0"/>
              </a:buClr>
            </a:pPr>
            <a:endParaRPr lang="en-CA" dirty="0">
              <a:solidFill>
                <a:srgbClr val="00B050"/>
              </a:solidFill>
            </a:endParaRPr>
          </a:p>
          <a:p>
            <a:pPr marL="472440" lvl="1" indent="0" latinLnBrk="0">
              <a:buClr>
                <a:srgbClr val="7030A0"/>
              </a:buClr>
              <a:buNone/>
            </a:pPr>
            <a:endParaRPr lang="en-CA" dirty="0">
              <a:solidFill>
                <a:srgbClr val="00B050"/>
              </a:solidFill>
            </a:endParaRPr>
          </a:p>
          <a:p>
            <a:pPr latinLnBrk="0">
              <a:buClr>
                <a:srgbClr val="7030A0"/>
              </a:buClr>
            </a:pPr>
            <a:r>
              <a:rPr lang="en-CA" dirty="0"/>
              <a:t>May statistically match well on a random test set </a:t>
            </a:r>
          </a:p>
          <a:p>
            <a:pPr latinLnBrk="0">
              <a:buClr>
                <a:srgbClr val="7030A0"/>
              </a:buClr>
            </a:pPr>
            <a:r>
              <a:rPr lang="en-CA" dirty="0"/>
              <a:t>However, maximizing the estimated one is likely to uncover the greatest mismatches</a:t>
            </a:r>
          </a:p>
          <a:p>
            <a:pPr lvl="1" latinLnBrk="0">
              <a:buClr>
                <a:srgbClr val="7030A0"/>
              </a:buClr>
            </a:pPr>
            <a:r>
              <a:rPr lang="en-CA" b="1" i="1" dirty="0"/>
              <a:t>Too good to be </a:t>
            </a:r>
            <a:r>
              <a:rPr lang="en-CA" b="1" i="1" dirty="0" smtClean="0"/>
              <a:t>true</a:t>
            </a:r>
          </a:p>
          <a:p>
            <a:pPr>
              <a:buClr>
                <a:srgbClr val="7030A0"/>
              </a:buClr>
            </a:pPr>
            <a:r>
              <a:rPr lang="en-CA" b="1" i="1" dirty="0" smtClean="0"/>
              <a:t>We need CIRL-like solutions: human intentions = latent variab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634437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97F10E-BE58-F441-9B8F-CBBB7DAE4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63" y="103263"/>
            <a:ext cx="11589745" cy="1325563"/>
          </a:xfrm>
        </p:spPr>
        <p:txBody>
          <a:bodyPr/>
          <a:lstStyle/>
          <a:p>
            <a:pPr latinLnBrk="0"/>
            <a:r>
              <a:rPr lang="en-CA" sz="4300" dirty="0">
                <a:solidFill>
                  <a:srgbClr val="7030A0"/>
                </a:solidFill>
              </a:rPr>
              <a:t>How RL + Compute Power = Reward Hacking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57C940F4-F783-FB4C-A8F7-79364D005D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0913" y="1720251"/>
            <a:ext cx="11015950" cy="4351338"/>
          </a:xfrm>
        </p:spPr>
        <p:txBody>
          <a:bodyPr/>
          <a:lstStyle/>
          <a:p>
            <a:pPr latinLnBrk="0">
              <a:buClr>
                <a:srgbClr val="7030A0"/>
              </a:buClr>
            </a:pPr>
            <a:r>
              <a:rPr lang="en-CA" dirty="0"/>
              <a:t>Consider an agent that receives a reward from a human and optimizes its policy to maximize its expected reward</a:t>
            </a:r>
          </a:p>
          <a:p>
            <a:pPr latinLnBrk="0">
              <a:buClr>
                <a:srgbClr val="7030A0"/>
              </a:buClr>
            </a:pPr>
            <a:endParaRPr lang="en-CA" dirty="0"/>
          </a:p>
          <a:p>
            <a:pPr latinLnBrk="0">
              <a:buClr>
                <a:srgbClr val="7030A0"/>
              </a:buClr>
            </a:pPr>
            <a:r>
              <a:rPr lang="en-CA" dirty="0"/>
              <a:t>Cohen </a:t>
            </a:r>
            <a:r>
              <a:rPr lang="en-CA" i="1" dirty="0"/>
              <a:t>et al. (20</a:t>
            </a:r>
            <a:r>
              <a:rPr lang="en-CA" dirty="0"/>
              <a:t>22):</a:t>
            </a:r>
          </a:p>
          <a:p>
            <a:pPr lvl="1" latinLnBrk="0">
              <a:buClr>
                <a:srgbClr val="7030A0"/>
              </a:buClr>
            </a:pPr>
            <a:r>
              <a:rPr lang="en-CA" dirty="0"/>
              <a:t>This necessarily yields reward hacking as the compute power to optimize the policy increases, even in the CIRL case</a:t>
            </a:r>
          </a:p>
          <a:p>
            <a:pPr marL="0" indent="0" latinLnBrk="0">
              <a:buClr>
                <a:srgbClr val="7030A0"/>
              </a:buClr>
              <a:buNone/>
            </a:pPr>
            <a:endParaRPr lang="en-CA" dirty="0"/>
          </a:p>
          <a:p>
            <a:pPr marL="0" indent="0" latinLnBrk="0">
              <a:buClr>
                <a:srgbClr val="7030A0"/>
              </a:buClr>
              <a:buNone/>
            </a:pPr>
            <a:endParaRPr lang="en-CA" dirty="0"/>
          </a:p>
          <a:p>
            <a:pPr marL="0" indent="0" latinLnBrk="0">
              <a:buClr>
                <a:srgbClr val="7030A0"/>
              </a:buClr>
              <a:buNone/>
            </a:pPr>
            <a:r>
              <a:rPr lang="en" sz="2000" i="1" dirty="0"/>
              <a:t>Cohen, </a:t>
            </a:r>
            <a:r>
              <a:rPr lang="en" sz="2000" i="1" dirty="0" err="1"/>
              <a:t>Hutter</a:t>
            </a:r>
            <a:r>
              <a:rPr lang="en" sz="2000" i="1" dirty="0"/>
              <a:t> &amp; Osborne. "</a:t>
            </a:r>
            <a:r>
              <a:rPr lang="en" sz="2000" i="1" dirty="0">
                <a:hlinkClick r:id="rId2"/>
              </a:rPr>
              <a:t>Advanced artificial agents intervene in the provision of reward.</a:t>
            </a:r>
            <a:r>
              <a:rPr lang="en" sz="2000" i="1" dirty="0"/>
              <a:t>" AI magazine 43, no. 3 (2022)</a:t>
            </a:r>
            <a:endParaRPr lang="en-CA" sz="2000" i="1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80C7B372-0341-F316-6DC1-2BD2FE9696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075" y="6071589"/>
            <a:ext cx="1281115" cy="80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26768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25500" y="98427"/>
            <a:ext cx="10515600" cy="1325563"/>
          </a:xfrm>
        </p:spPr>
        <p:txBody>
          <a:bodyPr/>
          <a:lstStyle/>
          <a:p>
            <a:r>
              <a:rPr lang="en-CA" dirty="0" smtClean="0"/>
              <a:t>How to build a useful &amp; harmless AI?</a:t>
            </a:r>
            <a:endParaRPr lang="en-CA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5500" y="1558924"/>
            <a:ext cx="10515600" cy="4498975"/>
          </a:xfrm>
        </p:spPr>
        <p:txBody>
          <a:bodyPr/>
          <a:lstStyle/>
          <a:p>
            <a:r>
              <a:rPr lang="en-CA" sz="3600" b="1" dirty="0" smtClean="0">
                <a:solidFill>
                  <a:srgbClr val="FF0000"/>
                </a:solidFill>
              </a:rPr>
              <a:t>Non Agentic Solution: AI Pure Scientist</a:t>
            </a:r>
            <a:r>
              <a:rPr lang="en-CA" dirty="0" smtClean="0"/>
              <a:t>: </a:t>
            </a:r>
          </a:p>
          <a:p>
            <a:pPr lvl="1"/>
            <a:r>
              <a:rPr lang="en-CA" dirty="0" smtClean="0"/>
              <a:t>Neural net generates theories about the world (writes scientific papers)</a:t>
            </a:r>
          </a:p>
          <a:p>
            <a:pPr lvl="1"/>
            <a:r>
              <a:rPr lang="en-CA" dirty="0" smtClean="0"/>
              <a:t>Theories sampled from approximate Bayesian posterior P(theory | data)</a:t>
            </a:r>
          </a:p>
          <a:p>
            <a:pPr lvl="1"/>
            <a:r>
              <a:rPr lang="en-CA" dirty="0" smtClean="0"/>
              <a:t>Theories include latent causal explanations for the data</a:t>
            </a:r>
          </a:p>
          <a:p>
            <a:pPr lvl="1"/>
            <a:r>
              <a:rPr lang="en-CA" dirty="0" smtClean="0"/>
              <a:t>No goal (except as an object of study), no reward</a:t>
            </a:r>
          </a:p>
          <a:p>
            <a:pPr lvl="1"/>
            <a:r>
              <a:rPr lang="en-CA" dirty="0" smtClean="0"/>
              <a:t>Builds a really </a:t>
            </a:r>
            <a:r>
              <a:rPr lang="en-CA" b="1" dirty="0" smtClean="0">
                <a:solidFill>
                  <a:srgbClr val="FF0000"/>
                </a:solidFill>
              </a:rPr>
              <a:t>good world model with epistemic humility</a:t>
            </a:r>
          </a:p>
          <a:p>
            <a:pPr lvl="1"/>
            <a:r>
              <a:rPr lang="en-CA" dirty="0" smtClean="0"/>
              <a:t>Does not optimize for long-term goals</a:t>
            </a:r>
          </a:p>
          <a:p>
            <a:pPr lvl="1"/>
            <a:r>
              <a:rPr lang="en-CA" dirty="0" smtClean="0"/>
              <a:t>May help human scientists a lot, help with UN SDGs</a:t>
            </a:r>
            <a:endParaRPr lang="en-CA" dirty="0"/>
          </a:p>
          <a:p>
            <a:pPr lvl="1"/>
            <a:r>
              <a:rPr lang="en-CA" dirty="0" smtClean="0"/>
              <a:t>NOT AN ORACLE: answering questions would require marginalization and optimization</a:t>
            </a:r>
          </a:p>
          <a:p>
            <a:pPr lvl="1"/>
            <a:r>
              <a:rPr lang="en-CA" b="1" dirty="0" smtClean="0">
                <a:solidFill>
                  <a:srgbClr val="FF0000"/>
                </a:solidFill>
              </a:rPr>
              <a:t>But cannot be an agent to help us fight Rogue AIs "live"</a:t>
            </a:r>
            <a:endParaRPr lang="en-CA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4894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9489" y="224448"/>
            <a:ext cx="11677880" cy="1325563"/>
          </a:xfrm>
        </p:spPr>
        <p:txBody>
          <a:bodyPr/>
          <a:lstStyle/>
          <a:p>
            <a:pPr latinLnBrk="0"/>
            <a:r>
              <a:rPr lang="en-CA" sz="4300" dirty="0">
                <a:solidFill>
                  <a:srgbClr val="7030A0"/>
                </a:solidFill>
              </a:rPr>
              <a:t>The Problem with Maximum-Likelihood Models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7030A0"/>
              </a:buClr>
            </a:pPr>
            <a:r>
              <a:rPr lang="en-CA" dirty="0"/>
              <a:t>Current Frontier AI approaches combine maximum likelihood training with RL</a:t>
            </a:r>
          </a:p>
          <a:p>
            <a:pPr latinLnBrk="0">
              <a:buClr>
                <a:srgbClr val="7030A0"/>
              </a:buClr>
            </a:pPr>
            <a:endParaRPr lang="en-CA" dirty="0"/>
          </a:p>
          <a:p>
            <a:pPr latinLnBrk="0">
              <a:buClr>
                <a:srgbClr val="7030A0"/>
              </a:buClr>
            </a:pPr>
            <a:r>
              <a:rPr lang="en-CA" dirty="0"/>
              <a:t>May be wrong with confidence in some places (hallucinations!)</a:t>
            </a:r>
          </a:p>
          <a:p>
            <a:pPr latinLnBrk="0">
              <a:buClr>
                <a:srgbClr val="7030A0"/>
              </a:buClr>
            </a:pPr>
            <a:endParaRPr lang="en-CA" dirty="0"/>
          </a:p>
          <a:p>
            <a:pPr latinLnBrk="0">
              <a:buClr>
                <a:srgbClr val="7030A0"/>
              </a:buClr>
            </a:pPr>
            <a:r>
              <a:rPr lang="en-CA" dirty="0"/>
              <a:t>Optimizing on such model discovers fantasy treasures</a:t>
            </a:r>
          </a:p>
          <a:p>
            <a:pPr latinLnBrk="0">
              <a:buClr>
                <a:srgbClr val="7030A0"/>
              </a:buClr>
            </a:pPr>
            <a:endParaRPr lang="en-CA" dirty="0"/>
          </a:p>
          <a:p>
            <a:pPr latinLnBrk="0">
              <a:buClr>
                <a:srgbClr val="7030A0"/>
              </a:buClr>
            </a:pPr>
            <a:r>
              <a:rPr lang="en-CA" dirty="0"/>
              <a:t>Absolutely no quantitative safety guarantees!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CEDFB69D-1EFB-6455-5EEC-151A740746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075" y="6071589"/>
            <a:ext cx="1281115" cy="80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02780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"/>
          <p:cNvSpPr txBox="1">
            <a:spLocks noGrp="1"/>
          </p:cNvSpPr>
          <p:nvPr>
            <p:ph type="title"/>
          </p:nvPr>
        </p:nvSpPr>
        <p:spPr>
          <a:xfrm>
            <a:off x="425885" y="13419"/>
            <a:ext cx="1092791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fr-FR" sz="4000" dirty="0" err="1"/>
              <a:t>Bayesian</a:t>
            </a:r>
            <a:r>
              <a:rPr lang="fr-FR" sz="4000" dirty="0"/>
              <a:t> </a:t>
            </a:r>
            <a:r>
              <a:rPr lang="fr-FR" sz="4000" dirty="0" err="1"/>
              <a:t>Posteriors</a:t>
            </a:r>
            <a:r>
              <a:rPr lang="fr-FR" sz="4000" dirty="0"/>
              <a:t> for </a:t>
            </a:r>
            <a:r>
              <a:rPr lang="fr-FR" sz="4000" dirty="0" err="1"/>
              <a:t>Safe</a:t>
            </a:r>
            <a:r>
              <a:rPr lang="fr-FR" sz="4000" dirty="0"/>
              <a:t> </a:t>
            </a:r>
            <a:r>
              <a:rPr lang="fr-FR" sz="4000" dirty="0" err="1"/>
              <a:t>Uncertain</a:t>
            </a:r>
            <a:r>
              <a:rPr lang="fr-FR" sz="4000" dirty="0"/>
              <a:t> </a:t>
            </a:r>
            <a:r>
              <a:rPr lang="fr-FR" sz="4000" dirty="0" err="1"/>
              <a:t>Decisions</a:t>
            </a:r>
            <a:endParaRPr sz="4000" i="1" dirty="0"/>
          </a:p>
        </p:txBody>
      </p:sp>
      <p:sp>
        <p:nvSpPr>
          <p:cNvPr id="164" name="Google Shape;164;p2"/>
          <p:cNvSpPr txBox="1">
            <a:spLocks noGrp="1"/>
          </p:cNvSpPr>
          <p:nvPr>
            <p:ph type="body" idx="1"/>
          </p:nvPr>
        </p:nvSpPr>
        <p:spPr>
          <a:xfrm>
            <a:off x="1111549" y="1227331"/>
            <a:ext cx="9144184" cy="50863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1430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fr-CA" b="1" dirty="0">
                <a:solidFill>
                  <a:srgbClr val="FF0000"/>
                </a:solidFill>
              </a:rPr>
              <a:t>Maximum </a:t>
            </a:r>
            <a:r>
              <a:rPr lang="fr-CA" b="1" dirty="0" err="1">
                <a:solidFill>
                  <a:srgbClr val="FF0000"/>
                </a:solidFill>
              </a:rPr>
              <a:t>likelihood</a:t>
            </a:r>
            <a:r>
              <a:rPr lang="fr-CA" b="1" dirty="0">
                <a:solidFill>
                  <a:srgbClr val="FF0000"/>
                </a:solidFill>
              </a:rPr>
              <a:t> model: 25% chances of </a:t>
            </a:r>
            <a:r>
              <a:rPr lang="fr-CA" b="1" dirty="0" err="1">
                <a:solidFill>
                  <a:srgbClr val="FF0000"/>
                </a:solidFill>
              </a:rPr>
              <a:t>dying</a:t>
            </a:r>
            <a:endParaRPr lang="fr-CA" b="1" dirty="0">
              <a:solidFill>
                <a:srgbClr val="FF0000"/>
              </a:solidFill>
            </a:endParaRPr>
          </a:p>
          <a:p>
            <a:pPr marL="11430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fr-CA" b="1" dirty="0" err="1">
                <a:solidFill>
                  <a:srgbClr val="FF0000"/>
                </a:solidFill>
              </a:rPr>
              <a:t>Bayesian</a:t>
            </a:r>
            <a:r>
              <a:rPr lang="fr-CA" b="1" dirty="0">
                <a:solidFill>
                  <a:srgbClr val="FF0000"/>
                </a:solidFill>
              </a:rPr>
              <a:t> agent: 50% cake, 50% </a:t>
            </a:r>
            <a:r>
              <a:rPr lang="fr-CA" b="1" dirty="0" err="1">
                <a:solidFill>
                  <a:srgbClr val="FF0000"/>
                </a:solidFill>
              </a:rPr>
              <a:t>nothing</a:t>
            </a:r>
            <a:endParaRPr lang="fr-CA" b="1" dirty="0">
              <a:solidFill>
                <a:srgbClr val="FF000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7454" y="3158429"/>
            <a:ext cx="3784600" cy="2514600"/>
          </a:xfrm>
          <a:prstGeom prst="rect">
            <a:avLst/>
          </a:prstGeom>
        </p:spPr>
      </p:pic>
      <p:pic>
        <p:nvPicPr>
          <p:cNvPr id="11" name="Picture 2" descr="ot Robot Icon, Simple Style Stock Vector - Illustration of custom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0716" y="4936217"/>
            <a:ext cx="175260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ector clip art of thick border thought cloud | Free SV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549" y="2412572"/>
            <a:ext cx="2523645" cy="252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ector clip art of thick border thought cloud | Free SV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793323" y="2508699"/>
            <a:ext cx="2753513" cy="252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86019" y="2909150"/>
            <a:ext cx="573128" cy="596574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656" y="3582540"/>
            <a:ext cx="927387" cy="616183"/>
          </a:xfrm>
          <a:prstGeom prst="rect">
            <a:avLst/>
          </a:prstGeom>
        </p:spPr>
      </p:pic>
      <p:pic>
        <p:nvPicPr>
          <p:cNvPr id="1032" name="Picture 8" descr="ake slice image | Public domain vector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212" y="2904749"/>
            <a:ext cx="719867" cy="619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6385" y="3582540"/>
            <a:ext cx="927387" cy="616183"/>
          </a:xfrm>
          <a:prstGeom prst="rect">
            <a:avLst/>
          </a:prstGeom>
        </p:spPr>
      </p:pic>
      <p:pic>
        <p:nvPicPr>
          <p:cNvPr id="19" name="Picture 8" descr="ake slice image | Public domain vector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8397" y="2941463"/>
            <a:ext cx="719867" cy="619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1188776" y="4570679"/>
            <a:ext cx="18018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/>
            <a:r>
              <a:rPr lang="fr-FR" dirty="0"/>
              <a:t>2 </a:t>
            </a:r>
            <a:r>
              <a:rPr lang="fr-FR" dirty="0" err="1"/>
              <a:t>theories</a:t>
            </a:r>
            <a:r>
              <a:rPr lang="fr-FR" dirty="0"/>
              <a:t> compatible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previous</a:t>
            </a:r>
            <a:r>
              <a:rPr lang="fr-FR" dirty="0"/>
              <a:t> data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xmlns="" id="{D4156AA9-81D2-337C-082B-8796180C1955}"/>
              </a:ext>
            </a:extLst>
          </p:cNvPr>
          <p:cNvSpPr txBox="1"/>
          <p:nvPr/>
        </p:nvSpPr>
        <p:spPr>
          <a:xfrm>
            <a:off x="4706385" y="5832733"/>
            <a:ext cx="5708854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CA" sz="18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Causality theory: even with infinite data, likely ambiguity of causal graph = Markov Equivalence Class</a:t>
            </a:r>
          </a:p>
        </p:txBody>
      </p:sp>
    </p:spTree>
    <p:extLst>
      <p:ext uri="{BB962C8B-B14F-4D97-AF65-F5344CB8AC3E}">
        <p14:creationId xmlns:p14="http://schemas.microsoft.com/office/powerpoint/2010/main" val="34272197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AB806F16-75B5-7A49-CDC4-2720CC7A3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Provable </a:t>
            </a:r>
            <a:r>
              <a:rPr lang="en-CA" dirty="0" smtClean="0"/>
              <a:t>Safety for AI Agent: Rejecting </a:t>
            </a:r>
            <a:r>
              <a:rPr lang="en-CA" dirty="0"/>
              <a:t>Unsafe </a:t>
            </a:r>
            <a:r>
              <a:rPr lang="en-CA" dirty="0" smtClean="0"/>
              <a:t>Actions with Quantitative Guarantee</a:t>
            </a:r>
            <a:endParaRPr lang="en-CA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17AC1DF3-D984-E997-3E44-A2D6BAB359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Current </a:t>
            </a:r>
            <a:r>
              <a:rPr lang="en-CA" dirty="0" err="1" smtClean="0"/>
              <a:t>evals</a:t>
            </a:r>
            <a:r>
              <a:rPr lang="en-CA" dirty="0" smtClean="0"/>
              <a:t> are spot checks, no guarantees in new contexts</a:t>
            </a:r>
          </a:p>
          <a:p>
            <a:endParaRPr lang="en-CA" dirty="0"/>
          </a:p>
          <a:p>
            <a:r>
              <a:rPr lang="en-CA" dirty="0" smtClean="0"/>
              <a:t>Given </a:t>
            </a:r>
            <a:r>
              <a:rPr lang="en-CA" dirty="0"/>
              <a:t>observed data D, context x, what would be the probability of harm resulting from action a</a:t>
            </a:r>
            <a:r>
              <a:rPr lang="en-CA" dirty="0" smtClean="0"/>
              <a:t>?	</a:t>
            </a:r>
            <a:endParaRPr lang="en-CA" dirty="0"/>
          </a:p>
          <a:p>
            <a:pPr marL="114300" indent="0">
              <a:buNone/>
            </a:pPr>
            <a:r>
              <a:rPr lang="en-CA" dirty="0" smtClean="0"/>
              <a:t>	</a:t>
            </a:r>
            <a:r>
              <a:rPr lang="en-CA" b="1" dirty="0" smtClean="0">
                <a:solidFill>
                  <a:srgbClr val="FF0000"/>
                </a:solidFill>
              </a:rPr>
              <a:t>Reject action </a:t>
            </a:r>
            <a:r>
              <a:rPr lang="en-CA" b="1" dirty="0">
                <a:solidFill>
                  <a:srgbClr val="FF0000"/>
                </a:solidFill>
              </a:rPr>
              <a:t>if P(harm | </a:t>
            </a:r>
            <a:r>
              <a:rPr lang="en-CA" b="1" dirty="0" smtClean="0">
                <a:solidFill>
                  <a:srgbClr val="FF0000"/>
                </a:solidFill>
              </a:rPr>
              <a:t>action, </a:t>
            </a:r>
            <a:r>
              <a:rPr lang="en-CA" b="1" dirty="0">
                <a:solidFill>
                  <a:srgbClr val="FF0000"/>
                </a:solidFill>
              </a:rPr>
              <a:t>x, D) &gt; threshold</a:t>
            </a:r>
          </a:p>
          <a:p>
            <a:endParaRPr lang="en-CA" dirty="0"/>
          </a:p>
          <a:p>
            <a:r>
              <a:rPr lang="en-CA" dirty="0"/>
              <a:t>How could we </a:t>
            </a:r>
            <a:r>
              <a:rPr lang="en-CA" dirty="0" smtClean="0"/>
              <a:t>efficiently estimate such </a:t>
            </a:r>
            <a:r>
              <a:rPr lang="en-CA" b="1" dirty="0">
                <a:solidFill>
                  <a:srgbClr val="FF0000"/>
                </a:solidFill>
              </a:rPr>
              <a:t>Bayesian posterior </a:t>
            </a:r>
            <a:r>
              <a:rPr lang="en-CA" b="1" dirty="0" smtClean="0">
                <a:solidFill>
                  <a:srgbClr val="FF0000"/>
                </a:solidFill>
              </a:rPr>
              <a:t>probabilities </a:t>
            </a:r>
            <a:r>
              <a:rPr lang="en-CA" dirty="0"/>
              <a:t>in a </a:t>
            </a:r>
            <a:r>
              <a:rPr lang="en-CA" b="1" dirty="0">
                <a:solidFill>
                  <a:srgbClr val="FF0000"/>
                </a:solidFill>
              </a:rPr>
              <a:t>conservative</a:t>
            </a:r>
            <a:r>
              <a:rPr lang="en-CA" dirty="0"/>
              <a:t> way? We cannot afford to underestimate it if the harm is catastrophic.</a:t>
            </a:r>
          </a:p>
          <a:p>
            <a:pPr marL="114300" indent="0">
              <a:buNone/>
            </a:pP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289754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Titre 5"/>
          <p:cNvSpPr txBox="1">
            <a:spLocks noGrp="1"/>
          </p:cNvSpPr>
          <p:nvPr>
            <p:ph type="title"/>
          </p:nvPr>
        </p:nvSpPr>
        <p:spPr>
          <a:xfrm>
            <a:off x="822959" y="299153"/>
            <a:ext cx="10919861" cy="89623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Bayesian Posteriors</a:t>
            </a:r>
            <a:endParaRPr/>
          </a:p>
        </p:txBody>
      </p:sp>
      <p:sp>
        <p:nvSpPr>
          <p:cNvPr id="281" name="Espace réservé du contenu 6"/>
          <p:cNvSpPr txBox="1">
            <a:spLocks noGrp="1"/>
          </p:cNvSpPr>
          <p:nvPr>
            <p:ph type="body" idx="1"/>
          </p:nvPr>
        </p:nvSpPr>
        <p:spPr>
          <a:xfrm>
            <a:off x="314961" y="2045369"/>
            <a:ext cx="11427859" cy="3748714"/>
          </a:xfrm>
          <a:prstGeom prst="rect">
            <a:avLst/>
          </a:prstGeom>
        </p:spPr>
        <p:txBody>
          <a:bodyPr>
            <a:noAutofit/>
          </a:bodyPr>
          <a:lstStyle/>
          <a:p>
            <a:pPr marL="665163" lvl="2" indent="-457200" defTabSz="877822">
              <a:spcBef>
                <a:spcPts val="700"/>
              </a:spcBef>
              <a:buClr>
                <a:schemeClr val="accent4"/>
              </a:buClr>
              <a:buFont typeface="Arial" charset="0"/>
              <a:buChar char="•"/>
              <a:tabLst>
                <a:tab pos="419100" algn="l"/>
              </a:tabLst>
              <a:defRPr sz="2100"/>
            </a:pPr>
            <a:r>
              <a:rPr lang="fr-CA" sz="2800" err="1">
                <a:sym typeface="Wingdings"/>
              </a:rPr>
              <a:t>Given</a:t>
            </a:r>
            <a:r>
              <a:rPr lang="fr-CA" sz="2800">
                <a:sym typeface="Wingdings"/>
              </a:rPr>
              <a:t> </a:t>
            </a:r>
            <a:r>
              <a:rPr lang="fr-CA" sz="2800" err="1">
                <a:sym typeface="Wingdings"/>
              </a:rPr>
              <a:t>prior</a:t>
            </a:r>
            <a:r>
              <a:rPr lang="fr-CA" sz="2800">
                <a:sym typeface="Wingdings"/>
              </a:rPr>
              <a:t>           over </a:t>
            </a:r>
            <a:r>
              <a:rPr lang="fr-CA" sz="2800" err="1">
                <a:sym typeface="Wingdings"/>
              </a:rPr>
              <a:t>explanatory</a:t>
            </a:r>
            <a:r>
              <a:rPr lang="fr-CA" sz="2800">
                <a:sym typeface="Wingdings"/>
              </a:rPr>
              <a:t> </a:t>
            </a:r>
            <a:r>
              <a:rPr lang="fr-CA" sz="2800" err="1">
                <a:sym typeface="Wingdings"/>
              </a:rPr>
              <a:t>theories</a:t>
            </a:r>
            <a:r>
              <a:rPr lang="fr-CA" sz="2800">
                <a:sym typeface="Wingdings"/>
              </a:rPr>
              <a:t>, </a:t>
            </a:r>
            <a:r>
              <a:rPr lang="fr-CA" sz="2800" err="1">
                <a:sym typeface="Wingdings"/>
              </a:rPr>
              <a:t>with</a:t>
            </a:r>
            <a:r>
              <a:rPr lang="fr-CA" sz="2800">
                <a:sym typeface="Wingdings"/>
              </a:rPr>
              <a:t>    </a:t>
            </a:r>
            <a:r>
              <a:rPr lang="fr-CA" sz="2800" err="1">
                <a:sym typeface="Wingdings"/>
              </a:rPr>
              <a:t>specifying</a:t>
            </a:r>
            <a:r>
              <a:rPr lang="fr-CA" sz="2800">
                <a:sym typeface="Wingdings"/>
              </a:rPr>
              <a:t> how to </a:t>
            </a:r>
            <a:r>
              <a:rPr lang="fr-CA" sz="2800" err="1">
                <a:sym typeface="Wingdings"/>
              </a:rPr>
              <a:t>answer</a:t>
            </a:r>
            <a:r>
              <a:rPr lang="fr-CA" sz="2800">
                <a:sym typeface="Wingdings"/>
              </a:rPr>
              <a:t> </a:t>
            </a:r>
            <a:r>
              <a:rPr lang="fr-CA" sz="2800" err="1">
                <a:sym typeface="Wingdings"/>
              </a:rPr>
              <a:t>any</a:t>
            </a:r>
            <a:r>
              <a:rPr lang="fr-CA" sz="2800">
                <a:sym typeface="Wingdings"/>
              </a:rPr>
              <a:t> question, </a:t>
            </a:r>
            <a:r>
              <a:rPr lang="fr-CA" sz="2800" err="1">
                <a:sym typeface="Wingdings"/>
              </a:rPr>
              <a:t>e.g</a:t>
            </a:r>
            <a:r>
              <a:rPr lang="fr-CA" sz="2800">
                <a:sym typeface="Wingdings"/>
              </a:rPr>
              <a:t>.,    tells us how to </a:t>
            </a:r>
            <a:r>
              <a:rPr lang="fr-CA" sz="2800" err="1">
                <a:sym typeface="Wingdings"/>
              </a:rPr>
              <a:t>compute</a:t>
            </a:r>
            <a:r>
              <a:rPr lang="fr-CA" sz="2800">
                <a:sym typeface="Wingdings"/>
              </a:rPr>
              <a:t> </a:t>
            </a:r>
            <a:r>
              <a:rPr lang="fr-CA" sz="2800" err="1">
                <a:sym typeface="Wingdings"/>
              </a:rPr>
              <a:t>any</a:t>
            </a:r>
            <a:r>
              <a:rPr lang="fr-CA" sz="2800">
                <a:sym typeface="Wingdings"/>
              </a:rPr>
              <a:t> </a:t>
            </a:r>
            <a:r>
              <a:rPr lang="fr-CA" sz="2800" err="1">
                <a:sym typeface="Wingdings"/>
              </a:rPr>
              <a:t>likelihood</a:t>
            </a:r>
            <a:r>
              <a:rPr lang="fr-CA" sz="2800">
                <a:sym typeface="Wingdings"/>
              </a:rPr>
              <a:t>                   per-</a:t>
            </a:r>
            <a:r>
              <a:rPr lang="fr-CA" sz="2800" err="1">
                <a:sym typeface="Wingdings"/>
              </a:rPr>
              <a:t>example</a:t>
            </a:r>
            <a:r>
              <a:rPr lang="fr-CA" sz="2800">
                <a:sym typeface="Wingdings"/>
              </a:rPr>
              <a:t> or over </a:t>
            </a:r>
            <a:r>
              <a:rPr lang="fr-CA" sz="2800" err="1">
                <a:sym typeface="Wingdings"/>
              </a:rPr>
              <a:t>dataset</a:t>
            </a:r>
            <a:r>
              <a:rPr lang="fr-CA" sz="2800">
                <a:sym typeface="Wingdings"/>
              </a:rPr>
              <a:t>,        </a:t>
            </a:r>
          </a:p>
          <a:p>
            <a:pPr marL="665163" lvl="2" indent="-457200" defTabSz="877822">
              <a:spcBef>
                <a:spcPts val="700"/>
              </a:spcBef>
              <a:buClr>
                <a:schemeClr val="accent4"/>
              </a:buClr>
              <a:buFont typeface="Arial" charset="0"/>
              <a:buChar char="•"/>
              <a:tabLst>
                <a:tab pos="419100" algn="l"/>
              </a:tabLst>
              <a:defRPr sz="2100"/>
            </a:pPr>
            <a:r>
              <a:rPr lang="fr-CA" sz="2800" err="1">
                <a:sym typeface="Wingdings"/>
              </a:rPr>
              <a:t>Estimate</a:t>
            </a:r>
            <a:endParaRPr lang="fr-CA" sz="2800">
              <a:sym typeface="Wingdings"/>
            </a:endParaRPr>
          </a:p>
          <a:p>
            <a:pPr marL="665163" lvl="2" indent="-457200" defTabSz="877822">
              <a:spcBef>
                <a:spcPts val="700"/>
              </a:spcBef>
              <a:buClr>
                <a:schemeClr val="accent4"/>
              </a:buClr>
              <a:buFont typeface="Arial" charset="0"/>
              <a:buChar char="•"/>
              <a:tabLst>
                <a:tab pos="419100" algn="l"/>
              </a:tabLst>
              <a:defRPr sz="2100"/>
            </a:pPr>
            <a:endParaRPr lang="fr-CA" sz="2800">
              <a:sym typeface="Wingdings"/>
            </a:endParaRPr>
          </a:p>
          <a:p>
            <a:pPr marL="665163" lvl="2" indent="-457200" defTabSz="877822">
              <a:spcBef>
                <a:spcPts val="700"/>
              </a:spcBef>
              <a:buClr>
                <a:schemeClr val="accent4"/>
              </a:buClr>
              <a:buFont typeface="Arial" charset="0"/>
              <a:buChar char="•"/>
              <a:tabLst>
                <a:tab pos="419100" algn="l"/>
              </a:tabLst>
              <a:defRPr sz="2100"/>
            </a:pPr>
            <a:endParaRPr lang="fr-CA" sz="2800">
              <a:sym typeface="Wingdings"/>
            </a:endParaRPr>
          </a:p>
          <a:p>
            <a:pPr marL="665163" lvl="2" indent="-457200" defTabSz="877822">
              <a:spcBef>
                <a:spcPts val="700"/>
              </a:spcBef>
              <a:buClr>
                <a:schemeClr val="accent4"/>
              </a:buClr>
              <a:buFont typeface="Arial" charset="0"/>
              <a:buChar char="•"/>
              <a:tabLst>
                <a:tab pos="419100" algn="l"/>
              </a:tabLst>
              <a:defRPr sz="2100"/>
            </a:pPr>
            <a:endParaRPr lang="fr-CA" sz="2800">
              <a:sym typeface="Wingdings"/>
            </a:endParaRPr>
          </a:p>
          <a:p>
            <a:pPr lvl="2" indent="0" defTabSz="877822">
              <a:spcBef>
                <a:spcPts val="700"/>
              </a:spcBef>
              <a:buClr>
                <a:schemeClr val="accent4"/>
              </a:buClr>
              <a:buNone/>
              <a:tabLst>
                <a:tab pos="419100" algn="l"/>
              </a:tabLst>
              <a:defRPr sz="2100"/>
            </a:pPr>
            <a:r>
              <a:rPr lang="fr-CA" sz="2800">
                <a:sym typeface="Wingdings"/>
              </a:rPr>
              <a:t>		</a:t>
            </a:r>
            <a:r>
              <a:rPr lang="fr-CA" sz="2800" err="1">
                <a:sym typeface="Wingdings"/>
              </a:rPr>
              <a:t>where</a:t>
            </a:r>
            <a:r>
              <a:rPr lang="fr-CA" sz="2800">
                <a:sym typeface="Wingdings"/>
              </a:rPr>
              <a:t> (</a:t>
            </a:r>
            <a:r>
              <a:rPr lang="fr-CA" sz="2800" err="1">
                <a:sym typeface="Wingdings"/>
              </a:rPr>
              <a:t>x,y</a:t>
            </a:r>
            <a:r>
              <a:rPr lang="fr-CA" sz="2800">
                <a:sym typeface="Wingdings"/>
              </a:rPr>
              <a:t>) are </a:t>
            </a:r>
            <a:r>
              <a:rPr lang="fr-CA" sz="2800" err="1">
                <a:sym typeface="Wingdings"/>
              </a:rPr>
              <a:t>any</a:t>
            </a:r>
            <a:r>
              <a:rPr lang="fr-CA" sz="2800">
                <a:sym typeface="Wingdings"/>
              </a:rPr>
              <a:t> </a:t>
            </a:r>
            <a:r>
              <a:rPr lang="fr-CA" sz="2800" err="1">
                <a:sym typeface="Wingdings"/>
              </a:rPr>
              <a:t>subset</a:t>
            </a:r>
            <a:r>
              <a:rPr lang="fr-CA" sz="2800">
                <a:sym typeface="Wingdings"/>
              </a:rPr>
              <a:t> of </a:t>
            </a:r>
            <a:r>
              <a:rPr lang="fr-CA" sz="2800" err="1">
                <a:sym typeface="Wingdings"/>
              </a:rPr>
              <a:t>r.v</a:t>
            </a:r>
            <a:r>
              <a:rPr lang="fr-CA" sz="2800">
                <a:sym typeface="Wingdings"/>
              </a:rPr>
              <a:t>.</a:t>
            </a:r>
          </a:p>
          <a:p>
            <a:pPr marL="665163" lvl="2" indent="-457200" defTabSz="877822">
              <a:spcBef>
                <a:spcPts val="700"/>
              </a:spcBef>
              <a:buClr>
                <a:schemeClr val="accent4"/>
              </a:buClr>
              <a:tabLst>
                <a:tab pos="419100" algn="l"/>
              </a:tabLst>
              <a:defRPr sz="2100"/>
            </a:pPr>
            <a:r>
              <a:rPr lang="fr-CA" sz="2800">
                <a:sym typeface="Wingdings"/>
              </a:rPr>
              <a:t>    </a:t>
            </a:r>
            <a:r>
              <a:rPr lang="fr-CA" sz="2800" err="1">
                <a:sym typeface="Wingdings"/>
              </a:rPr>
              <a:t>may</a:t>
            </a:r>
            <a:r>
              <a:rPr lang="fr-CA" sz="2800">
                <a:sym typeface="Wingdings"/>
              </a:rPr>
              <a:t> </a:t>
            </a:r>
            <a:r>
              <a:rPr lang="fr-CA" sz="2800" err="1">
                <a:sym typeface="Wingdings"/>
              </a:rPr>
              <a:t>include</a:t>
            </a:r>
            <a:r>
              <a:rPr lang="fr-CA" sz="2800">
                <a:sym typeface="Wingdings"/>
              </a:rPr>
              <a:t> latent </a:t>
            </a:r>
            <a:r>
              <a:rPr lang="fr-CA" sz="2800" err="1">
                <a:sym typeface="Wingdings"/>
              </a:rPr>
              <a:t>explanatory</a:t>
            </a:r>
            <a:r>
              <a:rPr lang="fr-CA" sz="2800">
                <a:sym typeface="Wingdings"/>
              </a:rPr>
              <a:t> variables value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0016" y="2027965"/>
            <a:ext cx="889000" cy="46990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5673" y="2070083"/>
            <a:ext cx="203200" cy="34290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7515" y="2503223"/>
            <a:ext cx="203200" cy="3429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3676" y="2919732"/>
            <a:ext cx="1714500" cy="4699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68390" y="3856648"/>
            <a:ext cx="4394200" cy="4699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31230" y="2907375"/>
            <a:ext cx="1397000" cy="4699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3676" y="4395073"/>
            <a:ext cx="6896100" cy="9906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5494" y="6016660"/>
            <a:ext cx="203200" cy="34290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 rot="20810505">
            <a:off x="9644865" y="3792991"/>
            <a:ext cx="1361907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0" cap="none" spc="0" normalizeH="0" baseline="0" noProof="0" dirty="0">
                <a:ln>
                  <a:noFill/>
                </a:ln>
                <a:solidFill>
                  <a:srgbClr val="6D006D"/>
                </a:solidFill>
                <a:effectLst/>
                <a:uLnTx/>
                <a:uFillTx/>
                <a:latin typeface="Helvetica"/>
                <a:sym typeface="Helvetica"/>
              </a:rPr>
              <a:t>1. sampling</a:t>
            </a:r>
          </a:p>
        </p:txBody>
      </p:sp>
      <p:sp>
        <p:nvSpPr>
          <p:cNvPr id="13" name="ZoneTexte 12"/>
          <p:cNvSpPr txBox="1"/>
          <p:nvPr/>
        </p:nvSpPr>
        <p:spPr>
          <a:xfrm rot="20810505">
            <a:off x="9637794" y="4358205"/>
            <a:ext cx="1900516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0" cap="none" spc="0" normalizeH="0" baseline="0" noProof="0" dirty="0">
                <a:ln>
                  <a:noFill/>
                </a:ln>
                <a:solidFill>
                  <a:srgbClr val="6D006D"/>
                </a:solidFill>
                <a:effectLst/>
                <a:uLnTx/>
                <a:uFillTx/>
                <a:latin typeface="Helvetica"/>
                <a:sym typeface="Helvetica"/>
              </a:rPr>
              <a:t>2.  marginalizing</a:t>
            </a:r>
          </a:p>
        </p:txBody>
      </p:sp>
    </p:spTree>
    <p:extLst>
      <p:ext uri="{BB962C8B-B14F-4D97-AF65-F5344CB8AC3E}">
        <p14:creationId xmlns:p14="http://schemas.microsoft.com/office/powerpoint/2010/main" val="43115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fade/>
      </p:transition>
    </mc:Choice>
    <mc:Fallback xmlns:a14="http://schemas.microsoft.com/office/drawing/2010/main" xmlns:m="http://schemas.openxmlformats.org/officeDocument/2006/math"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6" name="Google Shape;406;p51"/>
          <p:cNvGrpSpPr/>
          <p:nvPr/>
        </p:nvGrpSpPr>
        <p:grpSpPr>
          <a:xfrm>
            <a:off x="6800980" y="868766"/>
            <a:ext cx="5245215" cy="4201242"/>
            <a:chOff x="6527800" y="2320443"/>
            <a:chExt cx="5543452" cy="4270857"/>
          </a:xfrm>
        </p:grpSpPr>
        <p:pic>
          <p:nvPicPr>
            <p:cNvPr id="407" name="Google Shape;407;p5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6950166" y="2592387"/>
              <a:ext cx="2069980" cy="18351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08" name="Google Shape;408;p51"/>
            <p:cNvSpPr txBox="1"/>
            <p:nvPr/>
          </p:nvSpPr>
          <p:spPr>
            <a:xfrm>
              <a:off x="9696452" y="2342187"/>
              <a:ext cx="2374800" cy="71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latinLnBrk="0"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fr-FR" sz="2000" b="1">
                  <a:solidFill>
                    <a:srgbClr val="FF0000"/>
                  </a:solidFill>
                  <a:ea typeface="Arial"/>
                  <a:cs typeface="Arial"/>
                  <a:sym typeface="Arial"/>
                </a:rPr>
                <a:t>Systematic generalization</a:t>
              </a:r>
              <a:endParaRPr sz="2000" b="1">
                <a:solidFill>
                  <a:srgbClr val="FF0000"/>
                </a:solidFill>
                <a:ea typeface="Arial"/>
                <a:cs typeface="Arial"/>
                <a:sym typeface="Arial"/>
              </a:endParaRPr>
            </a:p>
          </p:txBody>
        </p:sp>
        <p:pic>
          <p:nvPicPr>
            <p:cNvPr id="409" name="Google Shape;409;p5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6794500" y="4445000"/>
              <a:ext cx="2069980" cy="18351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10" name="Google Shape;410;p5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9175811" y="4445000"/>
              <a:ext cx="2069980" cy="18351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1" name="Google Shape;411;p51"/>
            <p:cNvSpPr txBox="1"/>
            <p:nvPr/>
          </p:nvSpPr>
          <p:spPr>
            <a:xfrm>
              <a:off x="9883628" y="3104524"/>
              <a:ext cx="654300" cy="1032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latinLnBrk="0">
                <a:buClr>
                  <a:srgbClr val="000000"/>
                </a:buClr>
                <a:buSzPts val="6000"/>
                <a:buFont typeface="Arial"/>
                <a:buNone/>
              </a:pPr>
              <a:r>
                <a:rPr lang="fr-FR" sz="6000" b="1">
                  <a:solidFill>
                    <a:srgbClr val="000000"/>
                  </a:solidFill>
                  <a:ea typeface="Arial"/>
                  <a:cs typeface="Arial"/>
                  <a:sym typeface="Arial"/>
                </a:rPr>
                <a:t>?</a:t>
              </a:r>
              <a:endParaRPr sz="6000" b="1">
                <a:solidFill>
                  <a:srgbClr val="000000"/>
                </a:solidFill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12" name="Google Shape;412;p51"/>
            <p:cNvCxnSpPr/>
            <p:nvPr/>
          </p:nvCxnSpPr>
          <p:spPr>
            <a:xfrm>
              <a:off x="6527800" y="5702300"/>
              <a:ext cx="5080000" cy="0"/>
            </a:xfrm>
            <a:prstGeom prst="straightConnector1">
              <a:avLst/>
            </a:prstGeom>
            <a:noFill/>
            <a:ln w="9525" cap="flat" cmpd="sng">
              <a:solidFill>
                <a:srgbClr val="3E6E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13" name="Google Shape;413;p51"/>
            <p:cNvCxnSpPr/>
            <p:nvPr/>
          </p:nvCxnSpPr>
          <p:spPr>
            <a:xfrm rot="10800000">
              <a:off x="7953406" y="2342187"/>
              <a:ext cx="31750" cy="4249113"/>
            </a:xfrm>
            <a:prstGeom prst="straightConnector1">
              <a:avLst/>
            </a:prstGeom>
            <a:noFill/>
            <a:ln w="9525" cap="flat" cmpd="sng">
              <a:solidFill>
                <a:srgbClr val="3E6E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14" name="Google Shape;414;p51"/>
            <p:cNvCxnSpPr/>
            <p:nvPr/>
          </p:nvCxnSpPr>
          <p:spPr>
            <a:xfrm rot="10800000">
              <a:off x="10194926" y="2320443"/>
              <a:ext cx="31750" cy="4249113"/>
            </a:xfrm>
            <a:prstGeom prst="straightConnector1">
              <a:avLst/>
            </a:prstGeom>
            <a:noFill/>
            <a:ln w="9525" cap="flat" cmpd="sng">
              <a:solidFill>
                <a:srgbClr val="3E6E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15" name="Google Shape;415;p51"/>
            <p:cNvCxnSpPr/>
            <p:nvPr/>
          </p:nvCxnSpPr>
          <p:spPr>
            <a:xfrm>
              <a:off x="6635811" y="3860800"/>
              <a:ext cx="5080000" cy="0"/>
            </a:xfrm>
            <a:prstGeom prst="straightConnector1">
              <a:avLst/>
            </a:prstGeom>
            <a:noFill/>
            <a:ln w="9525" cap="flat" cmpd="sng">
              <a:solidFill>
                <a:srgbClr val="3E6EC2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pic>
        <p:nvPicPr>
          <p:cNvPr id="416" name="Google Shape;416;p51" descr="https://i.imgur.com/mOQnqID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528877" y="4875841"/>
            <a:ext cx="5245190" cy="1720850"/>
          </a:xfrm>
          <a:prstGeom prst="rect">
            <a:avLst/>
          </a:prstGeom>
          <a:noFill/>
          <a:ln>
            <a:noFill/>
          </a:ln>
        </p:spPr>
      </p:pic>
      <p:sp>
        <p:nvSpPr>
          <p:cNvPr id="417" name="Google Shape;417;p51"/>
          <p:cNvSpPr txBox="1">
            <a:spLocks noGrp="1"/>
          </p:cNvSpPr>
          <p:nvPr>
            <p:ph type="title"/>
          </p:nvPr>
        </p:nvSpPr>
        <p:spPr>
          <a:xfrm>
            <a:off x="723900" y="136525"/>
            <a:ext cx="107315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fr-FR" sz="4000"/>
              <a:t>The Limitations of MCMC Methods </a:t>
            </a:r>
            <a:endParaRPr sz="4000"/>
          </a:p>
        </p:txBody>
      </p:sp>
      <p:sp>
        <p:nvSpPr>
          <p:cNvPr id="418" name="Google Shape;418;p51"/>
          <p:cNvSpPr txBox="1">
            <a:spLocks noGrp="1"/>
          </p:cNvSpPr>
          <p:nvPr>
            <p:ph type="body" idx="1"/>
          </p:nvPr>
        </p:nvSpPr>
        <p:spPr>
          <a:xfrm>
            <a:off x="797600" y="1479550"/>
            <a:ext cx="6300300" cy="43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fr-FR" sz="2300" dirty="0"/>
              <a:t>MCMC </a:t>
            </a:r>
            <a:r>
              <a:rPr lang="fr-FR" sz="2300" dirty="0" err="1"/>
              <a:t>makes</a:t>
            </a:r>
            <a:r>
              <a:rPr lang="fr-FR" sz="2300" dirty="0"/>
              <a:t> a large </a:t>
            </a:r>
            <a:r>
              <a:rPr lang="fr-FR" sz="2300" dirty="0" err="1"/>
              <a:t>number</a:t>
            </a:r>
            <a:r>
              <a:rPr lang="fr-FR" sz="2300" dirty="0"/>
              <a:t> of </a:t>
            </a:r>
            <a:r>
              <a:rPr lang="fr-FR" sz="2300" dirty="0" err="1"/>
              <a:t>small</a:t>
            </a:r>
            <a:r>
              <a:rPr lang="fr-FR" sz="2300" dirty="0"/>
              <a:t>, </a:t>
            </a:r>
            <a:r>
              <a:rPr lang="fr-FR" sz="2300" dirty="0" err="1"/>
              <a:t>noisy</a:t>
            </a:r>
            <a:r>
              <a:rPr lang="fr-FR" sz="2300" dirty="0"/>
              <a:t>, local moves </a:t>
            </a:r>
            <a:r>
              <a:rPr lang="fr-FR" sz="2300" dirty="0" err="1"/>
              <a:t>generally</a:t>
            </a:r>
            <a:r>
              <a:rPr lang="fr-FR" sz="2300" dirty="0"/>
              <a:t> </a:t>
            </a:r>
            <a:r>
              <a:rPr lang="fr-FR" sz="2300" dirty="0" err="1"/>
              <a:t>towards</a:t>
            </a:r>
            <a:r>
              <a:rPr lang="fr-FR" sz="2300" dirty="0"/>
              <a:t> </a:t>
            </a:r>
            <a:r>
              <a:rPr lang="fr-FR" sz="2300" dirty="0" err="1"/>
              <a:t>higher</a:t>
            </a:r>
            <a:r>
              <a:rPr lang="fr-FR" sz="2300" dirty="0"/>
              <a:t> </a:t>
            </a:r>
            <a:r>
              <a:rPr lang="fr-FR" sz="2300" dirty="0" err="1"/>
              <a:t>probability</a:t>
            </a:r>
            <a:endParaRPr lang="fr-FR" sz="2300" dirty="0"/>
          </a:p>
          <a:p>
            <a:pPr marL="0" marR="0" lvl="0" indent="0" algn="l" rtl="0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300" dirty="0"/>
          </a:p>
          <a:p>
            <a:pPr marL="0" marR="0" lvl="0" indent="0" algn="l" rtl="0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fr-FR" sz="2300" dirty="0" err="1"/>
              <a:t>Asymptotically</a:t>
            </a:r>
            <a:r>
              <a:rPr lang="fr-FR" sz="2300" dirty="0"/>
              <a:t> </a:t>
            </a:r>
            <a:r>
              <a:rPr lang="fr-FR" sz="2300" dirty="0" err="1"/>
              <a:t>samples</a:t>
            </a:r>
            <a:r>
              <a:rPr lang="fr-FR" sz="2300" dirty="0"/>
              <a:t> </a:t>
            </a:r>
            <a:r>
              <a:rPr lang="fr-FR" sz="2300" dirty="0" err="1"/>
              <a:t>from</a:t>
            </a:r>
            <a:endParaRPr sz="2300" dirty="0"/>
          </a:p>
          <a:p>
            <a:pPr marL="0" marR="0" lvl="0" indent="0" algn="l" rtl="0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fr-FR" sz="2300" dirty="0"/>
              <a:t> 			P(x)      </a:t>
            </a:r>
            <a:r>
              <a:rPr lang="fr-FR" sz="2300" dirty="0" err="1"/>
              <a:t>exp</a:t>
            </a:r>
            <a:r>
              <a:rPr lang="fr-FR" sz="2300" dirty="0"/>
              <a:t>(-</a:t>
            </a:r>
            <a:r>
              <a:rPr lang="fr-FR" sz="2300" dirty="0" err="1"/>
              <a:t>energy</a:t>
            </a:r>
            <a:r>
              <a:rPr lang="fr-FR" sz="2300" dirty="0"/>
              <a:t>(x)) </a:t>
            </a:r>
            <a:endParaRPr sz="2300" dirty="0"/>
          </a:p>
          <a:p>
            <a:pPr marL="0" marR="0" lvl="0" indent="0" algn="l" rtl="0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1200" dirty="0"/>
          </a:p>
          <a:p>
            <a:pPr marL="0" marR="0" lvl="0" indent="0" algn="l" rtl="0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fr-FR" sz="2300" b="1" dirty="0">
                <a:solidFill>
                  <a:srgbClr val="FF0000"/>
                </a:solidFill>
              </a:rPr>
              <a:t>But </a:t>
            </a:r>
            <a:r>
              <a:rPr lang="fr-FR" sz="2300" b="1" dirty="0" err="1">
                <a:solidFill>
                  <a:srgbClr val="FF0000"/>
                </a:solidFill>
              </a:rPr>
              <a:t>exponential</a:t>
            </a:r>
            <a:r>
              <a:rPr lang="fr-FR" sz="2300" b="1" dirty="0">
                <a:solidFill>
                  <a:srgbClr val="FF0000"/>
                </a:solidFill>
              </a:rPr>
              <a:t> time to mix </a:t>
            </a:r>
            <a:r>
              <a:rPr lang="fr-FR" sz="2300" b="1" dirty="0" err="1">
                <a:solidFill>
                  <a:srgbClr val="FF0000"/>
                </a:solidFill>
              </a:rPr>
              <a:t>between</a:t>
            </a:r>
            <a:r>
              <a:rPr lang="fr-FR" sz="2300" b="1" dirty="0">
                <a:solidFill>
                  <a:srgbClr val="FF0000"/>
                </a:solidFill>
              </a:rPr>
              <a:t> modes </a:t>
            </a:r>
            <a:r>
              <a:rPr lang="fr-FR" sz="2300" b="1" dirty="0" err="1">
                <a:solidFill>
                  <a:srgbClr val="FF0000"/>
                </a:solidFill>
              </a:rPr>
              <a:t>which</a:t>
            </a:r>
            <a:r>
              <a:rPr lang="fr-FR" sz="2300" b="1" dirty="0">
                <a:solidFill>
                  <a:srgbClr val="FF0000"/>
                </a:solidFill>
              </a:rPr>
              <a:t> </a:t>
            </a:r>
            <a:r>
              <a:rPr lang="fr-FR" sz="2300" b="1" dirty="0" err="1">
                <a:solidFill>
                  <a:srgbClr val="FF0000"/>
                </a:solidFill>
              </a:rPr>
              <a:t>occupy</a:t>
            </a:r>
            <a:r>
              <a:rPr lang="fr-FR" sz="2300" b="1" dirty="0">
                <a:solidFill>
                  <a:srgbClr val="FF0000"/>
                </a:solidFill>
              </a:rPr>
              <a:t> a </a:t>
            </a:r>
            <a:r>
              <a:rPr lang="fr-FR" sz="2300" b="1" dirty="0" err="1">
                <a:solidFill>
                  <a:srgbClr val="FF0000"/>
                </a:solidFill>
              </a:rPr>
              <a:t>small</a:t>
            </a:r>
            <a:r>
              <a:rPr lang="fr-FR" sz="2300" b="1" dirty="0">
                <a:solidFill>
                  <a:srgbClr val="FF0000"/>
                </a:solidFill>
              </a:rPr>
              <a:t> volume and are far </a:t>
            </a:r>
            <a:r>
              <a:rPr lang="fr-FR" sz="2300" b="1" dirty="0" err="1">
                <a:solidFill>
                  <a:srgbClr val="FF0000"/>
                </a:solidFill>
              </a:rPr>
              <a:t>from</a:t>
            </a:r>
            <a:r>
              <a:rPr lang="fr-FR" sz="2300" b="1" dirty="0">
                <a:solidFill>
                  <a:srgbClr val="FF0000"/>
                </a:solidFill>
              </a:rPr>
              <a:t> </a:t>
            </a:r>
            <a:r>
              <a:rPr lang="fr-FR" sz="2300" b="1" dirty="0" err="1">
                <a:solidFill>
                  <a:srgbClr val="FF0000"/>
                </a:solidFill>
              </a:rPr>
              <a:t>each</a:t>
            </a:r>
            <a:r>
              <a:rPr lang="fr-FR" sz="2300" b="1" dirty="0">
                <a:solidFill>
                  <a:srgbClr val="FF0000"/>
                </a:solidFill>
              </a:rPr>
              <a:t> </a:t>
            </a:r>
            <a:r>
              <a:rPr lang="fr-FR" sz="2300" b="1" dirty="0" err="1">
                <a:solidFill>
                  <a:srgbClr val="FF0000"/>
                </a:solidFill>
              </a:rPr>
              <a:t>other</a:t>
            </a:r>
            <a:r>
              <a:rPr lang="fr-FR" sz="2300" b="1" dirty="0">
                <a:solidFill>
                  <a:srgbClr val="FF0000"/>
                </a:solidFill>
              </a:rPr>
              <a:t>.</a:t>
            </a:r>
            <a:endParaRPr sz="2300" b="1" dirty="0">
              <a:solidFill>
                <a:srgbClr val="FF0000"/>
              </a:solidFill>
            </a:endParaRPr>
          </a:p>
        </p:txBody>
      </p:sp>
      <p:pic>
        <p:nvPicPr>
          <p:cNvPr id="419" name="Google Shape;419;p5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251961" y="3572390"/>
            <a:ext cx="281110" cy="1991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6938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Two Requirements to Avoid AI Catastrophes</a:t>
            </a:r>
            <a:endParaRPr lang="en-CA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14350" marR="0" lvl="0" indent="-5143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r>
              <a:rPr lang="en-CA" sz="3200" b="1" dirty="0" smtClean="0">
                <a:solidFill>
                  <a:srgbClr val="FF0000"/>
                </a:solidFill>
              </a:rPr>
              <a:t>Solving the alignment &amp; control </a:t>
            </a:r>
            <a:r>
              <a:rPr lang="en-CA" sz="3200" dirty="0" smtClean="0"/>
              <a:t>challenge: a technical challenge + political challenge (massive investment in R&amp;D)</a:t>
            </a:r>
          </a:p>
          <a:p>
            <a:pPr marL="514350" marR="0" lvl="0" indent="-5143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endParaRPr lang="en-CA" sz="3200" dirty="0" smtClean="0"/>
          </a:p>
          <a:p>
            <a:pPr marL="514350" marR="0" lvl="0" indent="-5143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endParaRPr lang="en-CA" sz="3200" dirty="0"/>
          </a:p>
          <a:p>
            <a:pPr marL="514350" marR="0" lvl="0" indent="-5143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r>
              <a:rPr lang="en-CA" sz="3200" b="1" dirty="0" smtClean="0">
                <a:solidFill>
                  <a:srgbClr val="FF0000"/>
                </a:solidFill>
              </a:rPr>
              <a:t>Solving the coordination challenge</a:t>
            </a:r>
            <a:r>
              <a:rPr lang="en-CA" sz="3200" dirty="0" smtClean="0"/>
              <a:t>: making sure </a:t>
            </a:r>
            <a:r>
              <a:rPr lang="en-CA" sz="3200" dirty="0" smtClean="0"/>
              <a:t>safe and ethical </a:t>
            </a:r>
            <a:r>
              <a:rPr lang="en-CA" sz="3200" dirty="0" smtClean="0"/>
              <a:t>protocols are followed, and preparing in case a rogue AI emerges nonetheless, a socio-technical challenge</a:t>
            </a:r>
          </a:p>
          <a:p>
            <a:pPr marL="514350" marR="0" lvl="0" indent="-5143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endParaRPr lang="en-CA" dirty="0"/>
          </a:p>
          <a:p>
            <a:pPr marL="514350" marR="0" lvl="0" indent="-5143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283818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377521D6-FA23-B945-9992-A99DC94BB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863" y="224448"/>
            <a:ext cx="11175825" cy="1325563"/>
          </a:xfrm>
        </p:spPr>
        <p:txBody>
          <a:bodyPr/>
          <a:lstStyle/>
          <a:p>
            <a:pPr latinLnBrk="0"/>
            <a:r>
              <a:rPr lang="en-CA" sz="4000" dirty="0">
                <a:solidFill>
                  <a:srgbClr val="7030A0"/>
                </a:solidFill>
              </a:rPr>
              <a:t>Objective: Increase Compute </a:t>
            </a:r>
            <a:r>
              <a:rPr lang="en-CA" sz="4000" dirty="0">
                <a:solidFill>
                  <a:srgbClr val="7030A0"/>
                </a:solidFill>
                <a:sym typeface="Wingdings" pitchFamily="2" charset="2"/>
              </a:rPr>
              <a:t> Increase Safety</a:t>
            </a:r>
            <a:endParaRPr lang="en-CA" sz="4000" dirty="0">
              <a:solidFill>
                <a:srgbClr val="7030A0"/>
              </a:solidFill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012A9425-BB50-B346-86DB-0C518995B6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4395" y="1837500"/>
            <a:ext cx="10878787" cy="4351338"/>
          </a:xfrm>
        </p:spPr>
        <p:txBody>
          <a:bodyPr/>
          <a:lstStyle/>
          <a:p>
            <a:pPr marL="0" indent="0" latinLnBrk="0">
              <a:buNone/>
            </a:pPr>
            <a:r>
              <a:rPr lang="en-CA" i="1" dirty="0"/>
              <a:t>In principle MCMC would do but may not scale practically to Frontier AI world models.</a:t>
            </a:r>
          </a:p>
          <a:p>
            <a:pPr marL="0" indent="0" latinLnBrk="0">
              <a:buNone/>
            </a:pPr>
            <a:endParaRPr lang="en-CA" i="1" dirty="0"/>
          </a:p>
          <a:p>
            <a:pPr marL="0" indent="0" latinLnBrk="0">
              <a:buNone/>
            </a:pPr>
            <a:r>
              <a:rPr lang="en-CA" b="1" dirty="0">
                <a:solidFill>
                  <a:srgbClr val="FF0000"/>
                </a:solidFill>
              </a:rPr>
              <a:t>Large neural net amortized inference approaches Bayesian posterior as the neural net size and training time increase</a:t>
            </a:r>
          </a:p>
          <a:p>
            <a:pPr marL="0" indent="0" latinLnBrk="0">
              <a:buNone/>
            </a:pPr>
            <a:endParaRPr lang="en-CA" b="1" dirty="0">
              <a:solidFill>
                <a:srgbClr val="FF0000"/>
              </a:solidFill>
            </a:endParaRPr>
          </a:p>
          <a:p>
            <a:pPr marL="0" indent="0" latinLnBrk="0">
              <a:buNone/>
            </a:pPr>
            <a:r>
              <a:rPr lang="en-CA" dirty="0">
                <a:solidFill>
                  <a:schemeClr val="tx1"/>
                </a:solidFill>
              </a:rPr>
              <a:t>We need neural nets that can flexibly represent rich Bayesian posteriors.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5D4C358C-D033-BB9D-661D-1E626D65A6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075" y="6071589"/>
            <a:ext cx="1281115" cy="80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72652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958" y="4578433"/>
            <a:ext cx="4587989" cy="227956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47" y="30"/>
            <a:ext cx="10515508" cy="1325552"/>
          </a:xfrm>
        </p:spPr>
        <p:txBody>
          <a:bodyPr/>
          <a:lstStyle/>
          <a:p>
            <a:pPr latinLnBrk="0"/>
            <a:r>
              <a:rPr lang="fr-FR" sz="4852" err="1"/>
              <a:t>Why</a:t>
            </a:r>
            <a:r>
              <a:rPr lang="fr-FR" sz="4852"/>
              <a:t> Rich </a:t>
            </a:r>
            <a:r>
              <a:rPr lang="fr-FR" sz="4852" err="1"/>
              <a:t>Amortized</a:t>
            </a:r>
            <a:r>
              <a:rPr lang="fr-FR" sz="4852"/>
              <a:t> </a:t>
            </a:r>
            <a:r>
              <a:rPr lang="fr-FR" sz="4852" err="1"/>
              <a:t>Predictors</a:t>
            </a:r>
            <a:r>
              <a:rPr lang="fr-FR" sz="4852"/>
              <a:t>?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46" y="1460517"/>
            <a:ext cx="10147763" cy="4567304"/>
          </a:xfrm>
        </p:spPr>
        <p:txBody>
          <a:bodyPr/>
          <a:lstStyle/>
          <a:p>
            <a:pPr latinLnBrk="0"/>
            <a:r>
              <a:rPr lang="fr-FR" sz="2800" err="1"/>
              <a:t>Compositional</a:t>
            </a:r>
            <a:r>
              <a:rPr lang="fr-FR" sz="2800"/>
              <a:t> structure </a:t>
            </a:r>
            <a:r>
              <a:rPr lang="fr-FR" sz="2800">
                <a:sym typeface="Wingdings"/>
              </a:rPr>
              <a:t></a:t>
            </a:r>
            <a:r>
              <a:rPr lang="fr-FR" sz="2800"/>
              <a:t> </a:t>
            </a:r>
            <a:r>
              <a:rPr lang="fr-FR" sz="2800" err="1"/>
              <a:t>exponential</a:t>
            </a:r>
            <a:r>
              <a:rPr lang="fr-FR" sz="2800"/>
              <a:t> # modes</a:t>
            </a:r>
          </a:p>
          <a:p>
            <a:pPr latinLnBrk="0"/>
            <a:r>
              <a:rPr lang="fr-FR" sz="2800" err="1"/>
              <a:t>With</a:t>
            </a:r>
            <a:r>
              <a:rPr lang="fr-FR" sz="2800"/>
              <a:t> MCMC, </a:t>
            </a:r>
            <a:r>
              <a:rPr lang="fr-FR" sz="2800" b="1" err="1">
                <a:solidFill>
                  <a:srgbClr val="FF0000"/>
                </a:solidFill>
              </a:rPr>
              <a:t>difficult</a:t>
            </a:r>
            <a:r>
              <a:rPr lang="fr-FR" sz="2800" b="1">
                <a:solidFill>
                  <a:srgbClr val="FF0000"/>
                </a:solidFill>
              </a:rPr>
              <a:t> to mix </a:t>
            </a:r>
            <a:r>
              <a:rPr lang="fr-FR" sz="2800" err="1"/>
              <a:t>between</a:t>
            </a:r>
            <a:r>
              <a:rPr lang="fr-FR" sz="2800"/>
              <a:t> modes</a:t>
            </a:r>
          </a:p>
          <a:p>
            <a:pPr latinLnBrk="0"/>
            <a:r>
              <a:rPr lang="fr-FR" sz="2800" err="1"/>
              <a:t>Traditional</a:t>
            </a:r>
            <a:r>
              <a:rPr lang="fr-FR" sz="2800"/>
              <a:t> </a:t>
            </a:r>
            <a:r>
              <a:rPr lang="fr-FR" sz="2800" err="1"/>
              <a:t>variational</a:t>
            </a:r>
            <a:r>
              <a:rPr lang="fr-FR" sz="2800"/>
              <a:t> </a:t>
            </a:r>
            <a:r>
              <a:rPr lang="fr-FR" sz="2800" err="1"/>
              <a:t>inference</a:t>
            </a:r>
            <a:r>
              <a:rPr lang="fr-FR" sz="2800"/>
              <a:t> </a:t>
            </a:r>
            <a:r>
              <a:rPr lang="fr-FR" sz="2800">
                <a:sym typeface="Wingdings"/>
              </a:rPr>
              <a:t> single mode-</a:t>
            </a:r>
            <a:r>
              <a:rPr lang="fr-FR" sz="2800" err="1">
                <a:sym typeface="Wingdings"/>
              </a:rPr>
              <a:t>seeking</a:t>
            </a:r>
            <a:endParaRPr lang="fr-FR" sz="2800"/>
          </a:p>
          <a:p>
            <a:pPr latinLnBrk="0"/>
            <a:r>
              <a:rPr lang="fr-FR" sz="2800" b="1">
                <a:solidFill>
                  <a:srgbClr val="FF0000"/>
                </a:solidFill>
              </a:rPr>
              <a:t>ML </a:t>
            </a:r>
            <a:r>
              <a:rPr lang="fr-FR" sz="2800" b="1" err="1">
                <a:solidFill>
                  <a:srgbClr val="FF0000"/>
                </a:solidFill>
              </a:rPr>
              <a:t>predictors</a:t>
            </a:r>
            <a:r>
              <a:rPr lang="fr-FR" sz="2800" b="1">
                <a:solidFill>
                  <a:srgbClr val="FF0000"/>
                </a:solidFill>
              </a:rPr>
              <a:t> </a:t>
            </a:r>
            <a:r>
              <a:rPr lang="fr-FR" sz="2800" b="1" err="1">
                <a:solidFill>
                  <a:srgbClr val="FF0000"/>
                </a:solidFill>
              </a:rPr>
              <a:t>may</a:t>
            </a:r>
            <a:r>
              <a:rPr lang="fr-FR" sz="2800" b="1">
                <a:solidFill>
                  <a:srgbClr val="FF0000"/>
                </a:solidFill>
              </a:rPr>
              <a:t> </a:t>
            </a:r>
            <a:r>
              <a:rPr lang="fr-FR" sz="2800" b="1" err="1">
                <a:solidFill>
                  <a:srgbClr val="FF0000"/>
                </a:solidFill>
              </a:rPr>
              <a:t>generalize</a:t>
            </a:r>
            <a:r>
              <a:rPr lang="fr-FR" sz="2800" b="1">
                <a:solidFill>
                  <a:srgbClr val="FF0000"/>
                </a:solidFill>
              </a:rPr>
              <a:t> </a:t>
            </a:r>
            <a:r>
              <a:rPr lang="fr-FR" sz="2800" b="1" err="1">
                <a:solidFill>
                  <a:srgbClr val="FF0000"/>
                </a:solidFill>
              </a:rPr>
              <a:t>from</a:t>
            </a:r>
            <a:r>
              <a:rPr lang="fr-FR" sz="2800" b="1">
                <a:solidFill>
                  <a:srgbClr val="FF0000"/>
                </a:solidFill>
              </a:rPr>
              <a:t> a </a:t>
            </a:r>
            <a:r>
              <a:rPr lang="fr-FR" sz="2800" b="1" err="1">
                <a:solidFill>
                  <a:srgbClr val="FF0000"/>
                </a:solidFill>
              </a:rPr>
              <a:t>small</a:t>
            </a:r>
            <a:r>
              <a:rPr lang="fr-FR" sz="2800" b="1">
                <a:solidFill>
                  <a:srgbClr val="FF0000"/>
                </a:solidFill>
              </a:rPr>
              <a:t> fraction of </a:t>
            </a:r>
            <a:r>
              <a:rPr lang="fr-FR" sz="2800" b="1" err="1">
                <a:solidFill>
                  <a:srgbClr val="FF0000"/>
                </a:solidFill>
              </a:rPr>
              <a:t>visited</a:t>
            </a:r>
            <a:r>
              <a:rPr lang="fr-FR" sz="2800" b="1">
                <a:solidFill>
                  <a:srgbClr val="FF0000"/>
                </a:solidFill>
              </a:rPr>
              <a:t> modes by </a:t>
            </a:r>
            <a:r>
              <a:rPr lang="fr-FR" sz="2800" b="1" err="1">
                <a:solidFill>
                  <a:srgbClr val="FF0000"/>
                </a:solidFill>
              </a:rPr>
              <a:t>exploiting</a:t>
            </a:r>
            <a:r>
              <a:rPr lang="fr-FR" sz="2800" b="1">
                <a:solidFill>
                  <a:srgbClr val="FF0000"/>
                </a:solidFill>
              </a:rPr>
              <a:t> </a:t>
            </a:r>
            <a:r>
              <a:rPr lang="fr-FR" sz="2800" b="1" err="1">
                <a:solidFill>
                  <a:srgbClr val="FF0000"/>
                </a:solidFill>
              </a:rPr>
              <a:t>generalizable</a:t>
            </a:r>
            <a:r>
              <a:rPr lang="fr-FR" sz="2800" b="1">
                <a:solidFill>
                  <a:srgbClr val="FF0000"/>
                </a:solidFill>
              </a:rPr>
              <a:t> structure</a:t>
            </a:r>
          </a:p>
          <a:p>
            <a:pPr latinLnBrk="0"/>
            <a:r>
              <a:rPr lang="fr-FR" sz="2800" b="1">
                <a:solidFill>
                  <a:srgbClr val="FF0000"/>
                </a:solidFill>
              </a:rPr>
              <a:t>GFN </a:t>
            </a:r>
            <a:r>
              <a:rPr lang="fr-FR" sz="2800" b="1" err="1">
                <a:solidFill>
                  <a:srgbClr val="0070C0"/>
                </a:solidFill>
              </a:rPr>
              <a:t>implicitly</a:t>
            </a:r>
            <a:r>
              <a:rPr lang="fr-FR" sz="2800" b="1">
                <a:solidFill>
                  <a:srgbClr val="FF0000"/>
                </a:solidFill>
              </a:rPr>
              <a:t> </a:t>
            </a:r>
            <a:r>
              <a:rPr lang="fr-FR" sz="2800" b="1" err="1">
                <a:solidFill>
                  <a:srgbClr val="0070C0"/>
                </a:solidFill>
              </a:rPr>
              <a:t>marginalizes</a:t>
            </a:r>
            <a:r>
              <a:rPr lang="fr-FR" sz="2800" b="1">
                <a:solidFill>
                  <a:srgbClr val="FF0000"/>
                </a:solidFill>
              </a:rPr>
              <a:t> over </a:t>
            </a:r>
            <a:r>
              <a:rPr lang="fr-FR" sz="2800" b="1" err="1">
                <a:solidFill>
                  <a:srgbClr val="FF0000"/>
                </a:solidFill>
              </a:rPr>
              <a:t>exponential</a:t>
            </a:r>
            <a:r>
              <a:rPr lang="fr-FR" sz="2800" b="1">
                <a:solidFill>
                  <a:srgbClr val="FF0000"/>
                </a:solidFill>
              </a:rPr>
              <a:t> # modes </a:t>
            </a:r>
          </a:p>
          <a:p>
            <a:pPr latinLnBrk="0"/>
            <a:r>
              <a:rPr lang="fr-FR" sz="2800" b="1" err="1"/>
              <a:t>Amortized</a:t>
            </a:r>
            <a:r>
              <a:rPr lang="fr-FR" sz="2800" b="1"/>
              <a:t> </a:t>
            </a:r>
            <a:r>
              <a:rPr lang="fr-FR" sz="2800" b="1" err="1"/>
              <a:t>predictors</a:t>
            </a:r>
            <a:r>
              <a:rPr lang="fr-FR" sz="2800" b="1"/>
              <a:t> are </a:t>
            </a:r>
            <a:r>
              <a:rPr lang="fr-FR" sz="2800" b="1" err="1"/>
              <a:t>fast</a:t>
            </a:r>
            <a:r>
              <a:rPr lang="fr-FR" sz="2800" b="1"/>
              <a:t> at </a:t>
            </a:r>
            <a:r>
              <a:rPr lang="fr-FR" sz="2800" b="1" err="1"/>
              <a:t>run</a:t>
            </a:r>
            <a:r>
              <a:rPr lang="fr-FR" sz="2800" b="1"/>
              <a:t>-time</a:t>
            </a:r>
            <a:endParaRPr lang="fr-FR" sz="3275" b="1"/>
          </a:p>
        </p:txBody>
      </p:sp>
    </p:spTree>
    <p:extLst>
      <p:ext uri="{BB962C8B-B14F-4D97-AF65-F5344CB8AC3E}">
        <p14:creationId xmlns:p14="http://schemas.microsoft.com/office/powerpoint/2010/main" val="737209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97BF7D56-9986-EFD0-5068-128B1D050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Modes of the Bayesian Posterior</a:t>
            </a:r>
            <a:endParaRPr lang="en-CA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088B0069-B218-B2AA-C4F7-6FD62C1A16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Cannot be parametric: cannot afford to put 0 mass on reality</a:t>
            </a:r>
          </a:p>
          <a:p>
            <a:endParaRPr lang="en-CA" dirty="0"/>
          </a:p>
          <a:p>
            <a:r>
              <a:rPr lang="en-CA" dirty="0"/>
              <a:t>Can we guarantee that we'll get all the modes of the posterior?</a:t>
            </a:r>
          </a:p>
          <a:p>
            <a:pPr lvl="1"/>
            <a:r>
              <a:rPr lang="en-CA" dirty="0"/>
              <a:t>No, in general</a:t>
            </a:r>
          </a:p>
          <a:p>
            <a:pPr lvl="1"/>
            <a:r>
              <a:rPr lang="en-CA" dirty="0"/>
              <a:t>Unless we restrict ourselves to theories about the world harbored by humans</a:t>
            </a:r>
          </a:p>
          <a:p>
            <a:pPr lvl="1"/>
            <a:r>
              <a:rPr lang="en-CA" dirty="0"/>
              <a:t>In that case our safety guarantee is not much worse than that of the human theory with the best fit to the data</a:t>
            </a:r>
          </a:p>
        </p:txBody>
      </p:sp>
    </p:spTree>
    <p:extLst>
      <p:ext uri="{BB962C8B-B14F-4D97-AF65-F5344CB8AC3E}">
        <p14:creationId xmlns:p14="http://schemas.microsoft.com/office/powerpoint/2010/main" val="34108581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Titre 5"/>
          <p:cNvSpPr txBox="1">
            <a:spLocks noGrp="1"/>
          </p:cNvSpPr>
          <p:nvPr>
            <p:ph type="title"/>
          </p:nvPr>
        </p:nvSpPr>
        <p:spPr>
          <a:xfrm>
            <a:off x="822960" y="299153"/>
            <a:ext cx="10515601" cy="89623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fr-CA" sz="4000" dirty="0" err="1">
                <a:solidFill>
                  <a:srgbClr val="7030A0"/>
                </a:solidFill>
              </a:rPr>
              <a:t>GFlowNets</a:t>
            </a:r>
            <a:r>
              <a:rPr lang="fr-CA" sz="4000" dirty="0">
                <a:solidFill>
                  <a:srgbClr val="7030A0"/>
                </a:solidFill>
              </a:rPr>
              <a:t> &amp; </a:t>
            </a:r>
            <a:r>
              <a:rPr lang="fr-CA" sz="4000" dirty="0" err="1">
                <a:solidFill>
                  <a:srgbClr val="7030A0"/>
                </a:solidFill>
              </a:rPr>
              <a:t>Bayesian</a:t>
            </a:r>
            <a:r>
              <a:rPr lang="fr-CA" sz="4000" dirty="0">
                <a:solidFill>
                  <a:srgbClr val="7030A0"/>
                </a:solidFill>
              </a:rPr>
              <a:t> </a:t>
            </a:r>
            <a:r>
              <a:rPr lang="fr-CA" sz="4000" dirty="0" err="1">
                <a:solidFill>
                  <a:srgbClr val="7030A0"/>
                </a:solidFill>
              </a:rPr>
              <a:t>posteriors</a:t>
            </a:r>
            <a:endParaRPr dirty="0">
              <a:solidFill>
                <a:srgbClr val="7030A0"/>
              </a:solidFill>
            </a:endParaRPr>
          </a:p>
        </p:txBody>
      </p:sp>
      <p:sp>
        <p:nvSpPr>
          <p:cNvPr id="281" name="Espace réservé du contenu 6"/>
          <p:cNvSpPr txBox="1">
            <a:spLocks noGrp="1"/>
          </p:cNvSpPr>
          <p:nvPr>
            <p:ph type="body" idx="1"/>
          </p:nvPr>
        </p:nvSpPr>
        <p:spPr>
          <a:xfrm>
            <a:off x="180131" y="1674748"/>
            <a:ext cx="11322756" cy="3688281"/>
          </a:xfrm>
          <a:prstGeom prst="rect">
            <a:avLst/>
          </a:prstGeom>
        </p:spPr>
        <p:txBody>
          <a:bodyPr>
            <a:noAutofit/>
          </a:bodyPr>
          <a:lstStyle/>
          <a:p>
            <a:pPr marL="678316" indent="-678316" defTabSz="877822">
              <a:spcBef>
                <a:spcPts val="700"/>
              </a:spcBef>
              <a:buClr>
                <a:schemeClr val="accent4"/>
              </a:buClr>
              <a:buSzPct val="100000"/>
              <a:buFont typeface="Arial" charset="0"/>
              <a:buChar char="•"/>
              <a:tabLst>
                <a:tab pos="419100" algn="l"/>
              </a:tabLst>
              <a:defRPr sz="2100"/>
            </a:pPr>
            <a:r>
              <a:rPr lang="en-US" sz="2800" dirty="0"/>
              <a:t>Learn a </a:t>
            </a:r>
            <a:r>
              <a:rPr lang="en-US" sz="2800" b="1" dirty="0">
                <a:solidFill>
                  <a:srgbClr val="FF0000"/>
                </a:solidFill>
              </a:rPr>
              <a:t>generative policy that samples compositional objects proportionally to some given reward function </a:t>
            </a:r>
            <a:r>
              <a:rPr lang="en-US" sz="2800" dirty="0"/>
              <a:t>(a function of the generated objects).</a:t>
            </a:r>
          </a:p>
          <a:p>
            <a:pPr marL="678316" indent="-678316" defTabSz="877822">
              <a:lnSpc>
                <a:spcPts val="2000"/>
              </a:lnSpc>
              <a:spcBef>
                <a:spcPts val="700"/>
              </a:spcBef>
              <a:buClr>
                <a:schemeClr val="accent4"/>
              </a:buClr>
              <a:buSzPct val="100000"/>
              <a:buFont typeface="Arial" charset="0"/>
              <a:buChar char="•"/>
              <a:tabLst>
                <a:tab pos="419100" algn="l"/>
              </a:tabLst>
              <a:defRPr sz="2100"/>
            </a:pPr>
            <a:endParaRPr lang="en-US" sz="2800" dirty="0"/>
          </a:p>
          <a:p>
            <a:pPr marL="678316" indent="-678316" defTabSz="877822">
              <a:spcBef>
                <a:spcPts val="700"/>
              </a:spcBef>
              <a:buClr>
                <a:schemeClr val="accent4"/>
              </a:buClr>
              <a:buSzPct val="100000"/>
              <a:buFont typeface="Arial" charset="0"/>
              <a:buChar char="•"/>
              <a:tabLst>
                <a:tab pos="419100" algn="l"/>
              </a:tabLst>
              <a:defRPr sz="2100"/>
            </a:pPr>
            <a:r>
              <a:rPr lang="en-US" sz="2800" dirty="0"/>
              <a:t>Different from standard generative models, that learn from data</a:t>
            </a:r>
          </a:p>
          <a:p>
            <a:pPr marL="678316" indent="-678316" defTabSz="877822">
              <a:lnSpc>
                <a:spcPts val="1200"/>
              </a:lnSpc>
              <a:spcBef>
                <a:spcPts val="700"/>
              </a:spcBef>
              <a:buClr>
                <a:schemeClr val="accent4"/>
              </a:buClr>
              <a:buSzPct val="100000"/>
              <a:buFont typeface="Arial" charset="0"/>
              <a:buChar char="•"/>
              <a:tabLst>
                <a:tab pos="419100" algn="l"/>
              </a:tabLst>
              <a:defRPr sz="2100"/>
            </a:pPr>
            <a:endParaRPr lang="en-US" sz="2800" dirty="0"/>
          </a:p>
          <a:p>
            <a:pPr marL="678316" indent="-678316" defTabSz="877822">
              <a:spcBef>
                <a:spcPts val="700"/>
              </a:spcBef>
              <a:buClr>
                <a:schemeClr val="accent4"/>
              </a:buClr>
              <a:buSzPct val="100000"/>
              <a:buFont typeface="Arial" charset="0"/>
              <a:buChar char="•"/>
              <a:tabLst>
                <a:tab pos="419100" algn="l"/>
              </a:tabLst>
              <a:defRPr sz="2100"/>
            </a:pPr>
            <a:r>
              <a:rPr lang="en-US" sz="2800" dirty="0"/>
              <a:t>If the reward function is the </a:t>
            </a:r>
            <a:r>
              <a:rPr lang="en-US" sz="2800" dirty="0">
                <a:solidFill>
                  <a:srgbClr val="FF0000"/>
                </a:solidFill>
              </a:rPr>
              <a:t>prior</a:t>
            </a:r>
            <a:r>
              <a:rPr lang="en-US" sz="2800" dirty="0"/>
              <a:t> over theories </a:t>
            </a:r>
            <a:r>
              <a:rPr lang="en-US" sz="2800" dirty="0">
                <a:solidFill>
                  <a:srgbClr val="FF0000"/>
                </a:solidFill>
              </a:rPr>
              <a:t>times</a:t>
            </a:r>
            <a:r>
              <a:rPr lang="en-US" sz="2800" dirty="0"/>
              <a:t> the </a:t>
            </a:r>
            <a:r>
              <a:rPr lang="en-US" sz="2800" dirty="0">
                <a:solidFill>
                  <a:srgbClr val="FF0000"/>
                </a:solidFill>
              </a:rPr>
              <a:t>likelihood</a:t>
            </a:r>
            <a:r>
              <a:rPr lang="en-US" sz="2800" dirty="0"/>
              <a:t> of the data under the theory, then the </a:t>
            </a:r>
            <a:r>
              <a:rPr lang="en-US" sz="2800" dirty="0" err="1"/>
              <a:t>GFlowNet</a:t>
            </a:r>
            <a:r>
              <a:rPr lang="en-US" sz="2800" dirty="0"/>
              <a:t> learns to </a:t>
            </a:r>
            <a:r>
              <a:rPr lang="en-US" sz="2800" b="1" dirty="0">
                <a:solidFill>
                  <a:srgbClr val="FF0000"/>
                </a:solidFill>
              </a:rPr>
              <a:t>sample from the Bayesian posterior </a:t>
            </a:r>
            <a:r>
              <a:rPr lang="en-US" sz="2800" dirty="0"/>
              <a:t>over theories:</a:t>
            </a:r>
          </a:p>
          <a:p>
            <a:pPr marL="678316" indent="-678316" defTabSz="877822">
              <a:spcBef>
                <a:spcPts val="700"/>
              </a:spcBef>
              <a:buClr>
                <a:schemeClr val="accent4"/>
              </a:buClr>
              <a:buSzPct val="100000"/>
              <a:buFont typeface="Arial" charset="0"/>
              <a:buChar char="•"/>
              <a:tabLst>
                <a:tab pos="419100" algn="l"/>
              </a:tabLst>
              <a:defRPr sz="2100"/>
            </a:pPr>
            <a:endParaRPr sz="28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6010" y="2688724"/>
            <a:ext cx="2349500" cy="4699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3059" y="5607444"/>
            <a:ext cx="8483600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294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fade/>
      </p:transition>
    </mc:Choice>
    <mc:Fallback xmlns="" xmlns:m="http://schemas.openxmlformats.org/officeDocument/2006/math" xmlns:a14="http://schemas.microsoft.com/office/drawing/2010/main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54509"/>
            <a:ext cx="10515600" cy="1325563"/>
          </a:xfrm>
        </p:spPr>
        <p:txBody>
          <a:bodyPr/>
          <a:lstStyle/>
          <a:p>
            <a:r>
              <a:rPr lang="fr-FR" dirty="0" err="1"/>
              <a:t>Jointly</a:t>
            </a:r>
            <a:r>
              <a:rPr lang="fr-FR" dirty="0"/>
              <a:t> Learning to </a:t>
            </a:r>
            <a:r>
              <a:rPr lang="fr-FR" dirty="0" err="1"/>
              <a:t>Sample</a:t>
            </a:r>
            <a:r>
              <a:rPr lang="fr-FR" dirty="0"/>
              <a:t> &amp; </a:t>
            </a:r>
            <a:r>
              <a:rPr lang="fr-FR" dirty="0" err="1"/>
              <a:t>Marginaliz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515009"/>
            <a:ext cx="10515600" cy="4351338"/>
          </a:xfrm>
        </p:spPr>
        <p:txBody>
          <a:bodyPr/>
          <a:lstStyle/>
          <a:p>
            <a:pPr marL="114300" indent="0">
              <a:buNone/>
            </a:pPr>
            <a:r>
              <a:rPr lang="fr-FR" sz="2400" dirty="0" err="1"/>
              <a:t>What</a:t>
            </a:r>
            <a:r>
              <a:rPr lang="fr-FR" sz="2400" dirty="0"/>
              <a:t> if no sampler </a:t>
            </a:r>
            <a:r>
              <a:rPr lang="fr-FR" sz="2400" dirty="0" err="1"/>
              <a:t>is</a:t>
            </a:r>
            <a:r>
              <a:rPr lang="fr-FR" sz="2400" dirty="0"/>
              <a:t> </a:t>
            </a:r>
            <a:r>
              <a:rPr lang="fr-FR" sz="2400" dirty="0" err="1"/>
              <a:t>given</a:t>
            </a:r>
            <a:r>
              <a:rPr lang="fr-FR" sz="2400" dirty="0"/>
              <a:t>?						 	         </a:t>
            </a:r>
            <a:r>
              <a:rPr lang="fr-FR" sz="2400" dirty="0" err="1"/>
              <a:t>e.g</a:t>
            </a:r>
            <a:r>
              <a:rPr lang="fr-FR" sz="2400" dirty="0"/>
              <a:t>. </a:t>
            </a:r>
            <a:r>
              <a:rPr lang="fr-FR" sz="2400" dirty="0" err="1"/>
              <a:t>Bayesian</a:t>
            </a:r>
            <a:r>
              <a:rPr lang="fr-FR" sz="2400" dirty="0"/>
              <a:t> </a:t>
            </a:r>
            <a:r>
              <a:rPr lang="fr-FR" sz="2400" dirty="0" err="1"/>
              <a:t>normalization</a:t>
            </a:r>
            <a:r>
              <a:rPr lang="fr-FR" sz="2400" dirty="0"/>
              <a:t> constant</a:t>
            </a:r>
          </a:p>
          <a:p>
            <a:pPr marL="114300" indent="0">
              <a:buNone/>
            </a:pPr>
            <a:endParaRPr lang="fr-FR" sz="2400" dirty="0"/>
          </a:p>
          <a:p>
            <a:pPr marL="114300" indent="0">
              <a:buNone/>
            </a:pPr>
            <a:r>
              <a:rPr lang="fr-FR" sz="2400" dirty="0"/>
              <a:t>Train a </a:t>
            </a:r>
            <a:r>
              <a:rPr lang="fr-FR" sz="2400" dirty="0" err="1"/>
              <a:t>posterior</a:t>
            </a:r>
            <a:r>
              <a:rPr lang="fr-FR" sz="2400" dirty="0"/>
              <a:t> sampler &amp; </a:t>
            </a:r>
            <a:r>
              <a:rPr lang="fr-FR" sz="2400" i="1" dirty="0"/>
              <a:t>S</a:t>
            </a:r>
            <a:r>
              <a:rPr lang="fr-FR" sz="2400" dirty="0"/>
              <a:t>:</a:t>
            </a:r>
          </a:p>
          <a:p>
            <a:pPr marL="114300" indent="0">
              <a:buNone/>
            </a:pPr>
            <a:endParaRPr lang="fr-FR" sz="2400" dirty="0"/>
          </a:p>
          <a:p>
            <a:pPr marL="114300" indent="0">
              <a:buNone/>
            </a:pPr>
            <a:r>
              <a:rPr lang="fr-FR" sz="2400" dirty="0"/>
              <a:t>To </a:t>
            </a:r>
            <a:r>
              <a:rPr lang="fr-FR" sz="2400" dirty="0" err="1"/>
              <a:t>satisfy</a:t>
            </a:r>
            <a:r>
              <a:rPr lang="fr-FR" sz="2400" dirty="0"/>
              <a:t> </a:t>
            </a:r>
            <a:r>
              <a:rPr lang="fr-FR" sz="2400" dirty="0" err="1"/>
              <a:t>constraint</a:t>
            </a:r>
            <a:r>
              <a:rPr lang="fr-FR" sz="2400" dirty="0"/>
              <a:t>:</a:t>
            </a:r>
          </a:p>
          <a:p>
            <a:pPr marL="114300" indent="0">
              <a:buNone/>
            </a:pPr>
            <a:endParaRPr lang="fr-FR" sz="2400" dirty="0"/>
          </a:p>
          <a:p>
            <a:pPr marL="114300" indent="0">
              <a:buNone/>
            </a:pPr>
            <a:r>
              <a:rPr lang="fr-FR" sz="2400" dirty="0" err="1"/>
              <a:t>Using</a:t>
            </a:r>
            <a:r>
              <a:rPr lang="fr-FR" sz="2400" dirty="0"/>
              <a:t> a GFN </a:t>
            </a:r>
            <a:r>
              <a:rPr lang="fr-FR" sz="2400" dirty="0" err="1"/>
              <a:t>loss</a:t>
            </a:r>
            <a:r>
              <a:rPr lang="fr-FR" sz="2400" dirty="0"/>
              <a:t>: 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251082" y="5450848"/>
            <a:ext cx="9147056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 err="1">
                <a:solidFill>
                  <a:srgbClr val="FF0000"/>
                </a:solidFill>
              </a:rPr>
              <a:t>Recover</a:t>
            </a:r>
            <a:r>
              <a:rPr lang="fr-FR" sz="2400" b="1" dirty="0">
                <a:solidFill>
                  <a:srgbClr val="FF0000"/>
                </a:solidFill>
              </a:rPr>
              <a:t> </a:t>
            </a:r>
            <a:r>
              <a:rPr lang="fr-FR" sz="2400" b="1" dirty="0" err="1">
                <a:solidFill>
                  <a:srgbClr val="FF0000"/>
                </a:solidFill>
              </a:rPr>
              <a:t>posterior</a:t>
            </a:r>
            <a:r>
              <a:rPr lang="fr-FR" sz="2400" b="1" dirty="0">
                <a:solidFill>
                  <a:srgbClr val="FF0000"/>
                </a:solidFill>
              </a:rPr>
              <a:t> </a:t>
            </a:r>
            <a:r>
              <a:rPr lang="fr-FR" sz="2400" b="1" dirty="0" err="1">
                <a:solidFill>
                  <a:srgbClr val="FF0000"/>
                </a:solidFill>
              </a:rPr>
              <a:t>prob</a:t>
            </a:r>
            <a:r>
              <a:rPr lang="fr-FR" sz="2400" b="1" dirty="0">
                <a:solidFill>
                  <a:srgbClr val="FF0000"/>
                </a:solidFill>
              </a:rPr>
              <a:t>., sampler and </a:t>
            </a:r>
            <a:r>
              <a:rPr lang="fr-FR" sz="2400" b="1" dirty="0" err="1">
                <a:solidFill>
                  <a:srgbClr val="FF0000"/>
                </a:solidFill>
              </a:rPr>
              <a:t>normalizing</a:t>
            </a:r>
            <a:r>
              <a:rPr lang="fr-FR" sz="2400" b="1" dirty="0">
                <a:solidFill>
                  <a:srgbClr val="FF0000"/>
                </a:solidFill>
              </a:rPr>
              <a:t> constant.</a:t>
            </a:r>
          </a:p>
          <a:p>
            <a:r>
              <a:rPr lang="fr-FR" sz="2400" b="1" dirty="0">
                <a:solidFill>
                  <a:srgbClr val="FF0000"/>
                </a:solidFill>
              </a:rPr>
              <a:t>Can </a:t>
            </a:r>
            <a:r>
              <a:rPr lang="fr-FR" sz="2400" b="1" dirty="0" err="1">
                <a:solidFill>
                  <a:srgbClr val="FF0000"/>
                </a:solidFill>
              </a:rPr>
              <a:t>be</a:t>
            </a:r>
            <a:r>
              <a:rPr lang="fr-FR" sz="2400" b="1" dirty="0">
                <a:solidFill>
                  <a:srgbClr val="FF0000"/>
                </a:solidFill>
              </a:rPr>
              <a:t> </a:t>
            </a:r>
            <a:r>
              <a:rPr lang="fr-FR" sz="2400" b="1" dirty="0" err="1">
                <a:solidFill>
                  <a:srgbClr val="FF0000"/>
                </a:solidFill>
              </a:rPr>
              <a:t>trained</a:t>
            </a:r>
            <a:r>
              <a:rPr lang="fr-FR" sz="2400" b="1" dirty="0">
                <a:solidFill>
                  <a:srgbClr val="FF0000"/>
                </a:solidFill>
              </a:rPr>
              <a:t> </a:t>
            </a:r>
            <a:r>
              <a:rPr lang="fr-FR" sz="2800" b="1" dirty="0">
                <a:solidFill>
                  <a:schemeClr val="tx1"/>
                </a:solidFill>
              </a:rPr>
              <a:t>off-</a:t>
            </a:r>
            <a:r>
              <a:rPr lang="fr-FR" sz="2800" b="1" dirty="0" err="1">
                <a:solidFill>
                  <a:schemeClr val="tx1"/>
                </a:solidFill>
              </a:rPr>
              <a:t>policy</a:t>
            </a:r>
            <a:r>
              <a:rPr lang="fr-FR" sz="2400" b="1" dirty="0">
                <a:solidFill>
                  <a:srgbClr val="FF0000"/>
                </a:solidFill>
              </a:rPr>
              <a:t>, </a:t>
            </a:r>
            <a:r>
              <a:rPr lang="fr-FR" sz="2400" b="1" dirty="0" err="1">
                <a:solidFill>
                  <a:srgbClr val="FF0000"/>
                </a:solidFill>
              </a:rPr>
              <a:t>from</a:t>
            </a:r>
            <a:r>
              <a:rPr lang="fr-FR" sz="2400" b="1" dirty="0">
                <a:solidFill>
                  <a:srgbClr val="FF0000"/>
                </a:solidFill>
              </a:rPr>
              <a:t> </a:t>
            </a:r>
            <a:r>
              <a:rPr lang="fr-FR" sz="2400" b="1" dirty="0" err="1">
                <a:solidFill>
                  <a:srgbClr val="FF0000"/>
                </a:solidFill>
              </a:rPr>
              <a:t>any</a:t>
            </a:r>
            <a:r>
              <a:rPr lang="fr-FR" sz="2400" b="1" dirty="0">
                <a:solidFill>
                  <a:srgbClr val="FF0000"/>
                </a:solidFill>
              </a:rPr>
              <a:t> full-support distribution.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3124" y="1528675"/>
            <a:ext cx="3267243" cy="931855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0537" y="2595467"/>
            <a:ext cx="4780548" cy="951683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9169" y="3811856"/>
            <a:ext cx="5777831" cy="431008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2233" y="4446958"/>
            <a:ext cx="7618997" cy="838894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3709663" y="5155046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i="1" dirty="0">
                <a:solidFill>
                  <a:srgbClr val="7030A0"/>
                </a:solidFill>
              </a:rPr>
              <a:t>(</a:t>
            </a:r>
            <a:r>
              <a:rPr lang="fr-FR" b="1" i="1" dirty="0" err="1">
                <a:solidFill>
                  <a:srgbClr val="7030A0"/>
                </a:solidFill>
              </a:rPr>
              <a:t>x,y</a:t>
            </a:r>
            <a:r>
              <a:rPr lang="fr-FR" b="1" i="1" dirty="0">
                <a:solidFill>
                  <a:srgbClr val="7030A0"/>
                </a:solidFill>
              </a:rPr>
              <a:t>) not </a:t>
            </a:r>
            <a:r>
              <a:rPr lang="fr-FR" b="1" i="1" dirty="0" err="1">
                <a:solidFill>
                  <a:srgbClr val="7030A0"/>
                </a:solidFill>
              </a:rPr>
              <a:t>necessarily</a:t>
            </a:r>
            <a:r>
              <a:rPr lang="fr-FR" b="1" i="1" dirty="0">
                <a:solidFill>
                  <a:srgbClr val="7030A0"/>
                </a:solidFill>
              </a:rPr>
              <a:t> real data</a:t>
            </a:r>
          </a:p>
        </p:txBody>
      </p:sp>
    </p:spTree>
    <p:extLst>
      <p:ext uri="{BB962C8B-B14F-4D97-AF65-F5344CB8AC3E}">
        <p14:creationId xmlns:p14="http://schemas.microsoft.com/office/powerpoint/2010/main" val="632852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9357" y="54509"/>
            <a:ext cx="10914129" cy="1325563"/>
          </a:xfrm>
        </p:spPr>
        <p:txBody>
          <a:bodyPr/>
          <a:lstStyle/>
          <a:p>
            <a:r>
              <a:rPr lang="fr-FR" sz="4000" dirty="0" err="1" smtClean="0"/>
              <a:t>Generating</a:t>
            </a:r>
            <a:r>
              <a:rPr lang="fr-FR" sz="4000" dirty="0" smtClean="0"/>
              <a:t> </a:t>
            </a:r>
            <a:r>
              <a:rPr lang="fr-FR" sz="4000" dirty="0" err="1" smtClean="0"/>
              <a:t>Compositional</a:t>
            </a:r>
            <a:r>
              <a:rPr lang="fr-FR" sz="4000" dirty="0" smtClean="0"/>
              <a:t> </a:t>
            </a:r>
            <a:r>
              <a:rPr lang="fr-FR" sz="4000" dirty="0" err="1" smtClean="0"/>
              <a:t>Objects</a:t>
            </a:r>
            <a:r>
              <a:rPr lang="fr-FR" sz="4000" dirty="0" smtClean="0"/>
              <a:t> </a:t>
            </a:r>
            <a:r>
              <a:rPr lang="fr-FR" sz="4000" dirty="0" err="1" smtClean="0"/>
              <a:t>Sequentially</a:t>
            </a:r>
            <a:endParaRPr lang="fr-FR" sz="400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515009"/>
            <a:ext cx="10515600" cy="4351338"/>
          </a:xfrm>
        </p:spPr>
        <p:txBody>
          <a:bodyPr/>
          <a:lstStyle/>
          <a:p>
            <a:pPr marL="114300" indent="0">
              <a:buNone/>
            </a:pPr>
            <a:r>
              <a:rPr lang="fr-FR" sz="2400" dirty="0"/>
              <a:t>If </a:t>
            </a:r>
            <a:r>
              <a:rPr lang="fr-FR" sz="2400" i="1" dirty="0"/>
              <a:t>y</a:t>
            </a:r>
            <a:r>
              <a:rPr lang="fr-FR" sz="2400" dirty="0"/>
              <a:t> </a:t>
            </a:r>
            <a:r>
              <a:rPr lang="fr-FR" sz="2400" dirty="0" err="1"/>
              <a:t>is</a:t>
            </a:r>
            <a:r>
              <a:rPr lang="fr-FR" sz="2400" dirty="0"/>
              <a:t> a </a:t>
            </a:r>
            <a:r>
              <a:rPr lang="fr-FR" sz="2400" dirty="0" err="1"/>
              <a:t>complicated</a:t>
            </a:r>
            <a:r>
              <a:rPr lang="fr-FR" sz="2400" dirty="0"/>
              <a:t> </a:t>
            </a:r>
            <a:r>
              <a:rPr lang="fr-FR" sz="2400" dirty="0" err="1"/>
              <a:t>object</a:t>
            </a:r>
            <a:r>
              <a:rPr lang="fr-FR" sz="2400" dirty="0"/>
              <a:t>, </a:t>
            </a:r>
            <a:r>
              <a:rPr lang="fr-FR" sz="2400" dirty="0" err="1"/>
              <a:t>representing</a:t>
            </a:r>
            <a:r>
              <a:rPr lang="fr-FR" sz="2400" dirty="0"/>
              <a:t> </a:t>
            </a:r>
            <a:r>
              <a:rPr lang="fr-FR" sz="2400" dirty="0" err="1"/>
              <a:t>its</a:t>
            </a:r>
            <a:r>
              <a:rPr lang="fr-FR" sz="2400" dirty="0"/>
              <a:t> multimodal distribution </a:t>
            </a:r>
            <a:r>
              <a:rPr lang="fr-FR" sz="2400" dirty="0" err="1"/>
              <a:t>efficiently</a:t>
            </a:r>
            <a:r>
              <a:rPr lang="fr-FR" sz="2400" dirty="0"/>
              <a:t> </a:t>
            </a:r>
            <a:r>
              <a:rPr lang="fr-FR" sz="2400" dirty="0" err="1"/>
              <a:t>can</a:t>
            </a:r>
            <a:r>
              <a:rPr lang="fr-FR" sz="2400" dirty="0"/>
              <a:t> </a:t>
            </a:r>
            <a:r>
              <a:rPr lang="fr-FR" sz="2400" dirty="0" err="1"/>
              <a:t>be</a:t>
            </a:r>
            <a:r>
              <a:rPr lang="fr-FR" sz="2400" dirty="0"/>
              <a:t> </a:t>
            </a:r>
            <a:r>
              <a:rPr lang="fr-FR" sz="2400" dirty="0" err="1"/>
              <a:t>done</a:t>
            </a:r>
            <a:r>
              <a:rPr lang="fr-FR" sz="2400" dirty="0"/>
              <a:t> </a:t>
            </a:r>
            <a:r>
              <a:rPr lang="fr-FR" sz="2400" dirty="0" err="1"/>
              <a:t>through</a:t>
            </a:r>
            <a:r>
              <a:rPr lang="fr-FR" sz="2400" dirty="0"/>
              <a:t> </a:t>
            </a:r>
            <a:r>
              <a:rPr lang="fr-FR" sz="2400" b="1" dirty="0">
                <a:solidFill>
                  <a:srgbClr val="FF0000"/>
                </a:solidFill>
              </a:rPr>
              <a:t>a </a:t>
            </a:r>
            <a:r>
              <a:rPr lang="fr-FR" sz="2400" b="1" dirty="0" err="1">
                <a:solidFill>
                  <a:srgbClr val="FF0000"/>
                </a:solidFill>
              </a:rPr>
              <a:t>sequence</a:t>
            </a:r>
            <a:r>
              <a:rPr lang="fr-FR" sz="2400" b="1" dirty="0">
                <a:solidFill>
                  <a:srgbClr val="FF0000"/>
                </a:solidFill>
              </a:rPr>
              <a:t> of </a:t>
            </a:r>
            <a:r>
              <a:rPr lang="fr-FR" sz="2400" b="1" dirty="0" err="1">
                <a:solidFill>
                  <a:srgbClr val="FF0000"/>
                </a:solidFill>
              </a:rPr>
              <a:t>stochastic</a:t>
            </a:r>
            <a:r>
              <a:rPr lang="fr-FR" sz="2400" b="1" dirty="0">
                <a:solidFill>
                  <a:srgbClr val="FF0000"/>
                </a:solidFill>
              </a:rPr>
              <a:t> actions</a:t>
            </a:r>
            <a:r>
              <a:rPr lang="fr-FR" sz="2400" dirty="0"/>
              <a:t>.</a:t>
            </a:r>
          </a:p>
          <a:p>
            <a:pPr marL="114300" indent="0">
              <a:buNone/>
            </a:pPr>
            <a:r>
              <a:rPr lang="fr-FR" sz="2400" dirty="0"/>
              <a:t>Let     </a:t>
            </a:r>
            <a:r>
              <a:rPr lang="fr-FR" sz="2400" dirty="0" err="1"/>
              <a:t>be</a:t>
            </a:r>
            <a:r>
              <a:rPr lang="fr-FR" sz="2400" dirty="0"/>
              <a:t> the </a:t>
            </a:r>
            <a:r>
              <a:rPr lang="fr-FR" sz="2400" dirty="0" err="1"/>
              <a:t>resulting</a:t>
            </a:r>
            <a:r>
              <a:rPr lang="fr-FR" sz="2400" dirty="0"/>
              <a:t> action-state </a:t>
            </a:r>
            <a:r>
              <a:rPr lang="fr-FR" sz="2400" dirty="0" err="1"/>
              <a:t>trajectory</a:t>
            </a:r>
            <a:r>
              <a:rPr lang="fr-FR" sz="2400" dirty="0"/>
              <a:t>, </a:t>
            </a:r>
            <a:r>
              <a:rPr lang="fr-FR" sz="2400" dirty="0" err="1"/>
              <a:t>with</a:t>
            </a:r>
            <a:r>
              <a:rPr lang="fr-FR" sz="2400" dirty="0"/>
              <a:t> </a:t>
            </a:r>
            <a:r>
              <a:rPr lang="fr-FR" sz="2400" dirty="0" err="1"/>
              <a:t>forward</a:t>
            </a:r>
            <a:r>
              <a:rPr lang="fr-FR" sz="2400" dirty="0"/>
              <a:t> </a:t>
            </a:r>
            <a:r>
              <a:rPr lang="fr-FR" sz="2400" dirty="0" err="1"/>
              <a:t>policy</a:t>
            </a:r>
            <a:r>
              <a:rPr lang="fr-FR" sz="2400" dirty="0"/>
              <a:t>      (to </a:t>
            </a:r>
            <a:r>
              <a:rPr lang="fr-FR" sz="2400" dirty="0" err="1"/>
              <a:t>generate</a:t>
            </a:r>
            <a:r>
              <a:rPr lang="fr-FR" sz="2400" dirty="0"/>
              <a:t> a final state </a:t>
            </a:r>
            <a:r>
              <a:rPr lang="fr-FR" sz="2400" i="1" dirty="0"/>
              <a:t>       </a:t>
            </a:r>
            <a:r>
              <a:rPr lang="fr-FR" sz="2400" dirty="0"/>
              <a:t>) and </a:t>
            </a:r>
            <a:r>
              <a:rPr lang="fr-FR" sz="2400" dirty="0" err="1"/>
              <a:t>backward</a:t>
            </a:r>
            <a:r>
              <a:rPr lang="fr-FR" sz="2400" dirty="0"/>
              <a:t> </a:t>
            </a:r>
            <a:r>
              <a:rPr lang="fr-FR" sz="2400" dirty="0" err="1"/>
              <a:t>policy</a:t>
            </a:r>
            <a:r>
              <a:rPr lang="fr-FR" sz="2400" dirty="0"/>
              <a:t>            (to </a:t>
            </a:r>
            <a:r>
              <a:rPr lang="fr-FR" sz="2400" dirty="0" err="1"/>
              <a:t>generate</a:t>
            </a:r>
            <a:r>
              <a:rPr lang="fr-FR" sz="2400" dirty="0"/>
              <a:t> a </a:t>
            </a:r>
            <a:r>
              <a:rPr lang="fr-FR" sz="2400" dirty="0" err="1"/>
              <a:t>trajectory</a:t>
            </a:r>
            <a:r>
              <a:rPr lang="fr-FR" sz="2400" dirty="0"/>
              <a:t> </a:t>
            </a:r>
            <a:r>
              <a:rPr lang="fr-FR" sz="2400" dirty="0" err="1"/>
              <a:t>given</a:t>
            </a:r>
            <a:r>
              <a:rPr lang="fr-FR" sz="2400" dirty="0"/>
              <a:t> a final state </a:t>
            </a:r>
            <a:r>
              <a:rPr lang="fr-FR" sz="2400" i="1" dirty="0"/>
              <a:t>y</a:t>
            </a:r>
            <a:r>
              <a:rPr lang="fr-FR" sz="2400" dirty="0"/>
              <a:t>):</a:t>
            </a:r>
          </a:p>
          <a:p>
            <a:pPr marL="114300" indent="0">
              <a:buNone/>
            </a:pPr>
            <a:endParaRPr lang="fr-FR" sz="2400" dirty="0"/>
          </a:p>
          <a:p>
            <a:pPr marL="114300" indent="0">
              <a:buNone/>
            </a:pPr>
            <a:endParaRPr lang="fr-FR" sz="2400" dirty="0"/>
          </a:p>
          <a:p>
            <a:pPr marL="114300" indent="0">
              <a:buNone/>
            </a:pPr>
            <a:endParaRPr lang="fr-FR" sz="2400" dirty="0"/>
          </a:p>
          <a:p>
            <a:pPr marL="114300" indent="0">
              <a:buNone/>
            </a:pPr>
            <a:r>
              <a:rPr lang="fr-FR" sz="2400" dirty="0" err="1"/>
              <a:t>Turned</a:t>
            </a:r>
            <a:r>
              <a:rPr lang="fr-FR" sz="2400" dirty="0"/>
              <a:t> </a:t>
            </a:r>
            <a:r>
              <a:rPr lang="fr-FR" sz="2400" dirty="0" err="1"/>
              <a:t>into</a:t>
            </a:r>
            <a:r>
              <a:rPr lang="fr-FR" sz="2400" dirty="0"/>
              <a:t> a GFN </a:t>
            </a:r>
            <a:r>
              <a:rPr lang="fr-FR" sz="2400" dirty="0" err="1"/>
              <a:t>loss</a:t>
            </a:r>
            <a:r>
              <a:rPr lang="fr-FR" sz="2400" dirty="0"/>
              <a:t>: 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977" y="4439844"/>
            <a:ext cx="5127762" cy="411556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3062" y="3733114"/>
            <a:ext cx="9628187" cy="437108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6563" y="4417630"/>
            <a:ext cx="4923566" cy="867539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0750" y="5685163"/>
            <a:ext cx="10642736" cy="464699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67396" y="2643290"/>
            <a:ext cx="228600" cy="203200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59587" y="2626637"/>
            <a:ext cx="416744" cy="293616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6797" y="2957783"/>
            <a:ext cx="575299" cy="337874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39317" y="2985756"/>
            <a:ext cx="946933" cy="291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3588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4"/>
          <p:cNvSpPr txBox="1">
            <a:spLocks noGrp="1"/>
          </p:cNvSpPr>
          <p:nvPr>
            <p:ph type="ctrTitle"/>
          </p:nvPr>
        </p:nvSpPr>
        <p:spPr>
          <a:xfrm>
            <a:off x="1128488" y="897861"/>
            <a:ext cx="9935026" cy="1293616"/>
          </a:xfrm>
          <a:prstGeom prst="rect">
            <a:avLst/>
          </a:prstGeom>
        </p:spPr>
        <p:txBody>
          <a:bodyPr spcFirstLastPara="1" vert="horz" wrap="square" lIns="121898" tIns="121898" rIns="121898" bIns="121898" rtlCol="0" anchor="b" anchorCtr="0">
            <a:noAutofit/>
          </a:bodyPr>
          <a:lstStyle/>
          <a:p>
            <a:pPr algn="ctr">
              <a:buSzPts val="990"/>
            </a:pPr>
            <a:r>
              <a:rPr lang="fr-CA" sz="4507" dirty="0" err="1"/>
              <a:t>Bayesian</a:t>
            </a:r>
            <a:r>
              <a:rPr lang="fr-CA" sz="4507" dirty="0"/>
              <a:t> Structure Learning </a:t>
            </a:r>
            <a:r>
              <a:rPr lang="fr-CA" sz="4507" dirty="0" err="1"/>
              <a:t>with</a:t>
            </a:r>
            <a:r>
              <a:rPr lang="fr-CA" sz="4507" dirty="0"/>
              <a:t> </a:t>
            </a:r>
            <a:r>
              <a:rPr lang="fr-CA" sz="4507" dirty="0" err="1"/>
              <a:t>Generative</a:t>
            </a:r>
            <a:r>
              <a:rPr lang="fr-CA" sz="4507" dirty="0"/>
              <a:t> Flow Networks</a:t>
            </a:r>
            <a:endParaRPr sz="4507" dirty="0"/>
          </a:p>
        </p:txBody>
      </p:sp>
      <p:sp>
        <p:nvSpPr>
          <p:cNvPr id="67" name="Google Shape;67;p14"/>
          <p:cNvSpPr txBox="1">
            <a:spLocks noGrp="1"/>
          </p:cNvSpPr>
          <p:nvPr>
            <p:ph type="subTitle" idx="1"/>
          </p:nvPr>
        </p:nvSpPr>
        <p:spPr>
          <a:xfrm>
            <a:off x="225734" y="3264587"/>
            <a:ext cx="11791992" cy="1056782"/>
          </a:xfrm>
          <a:prstGeom prst="rect">
            <a:avLst/>
          </a:prstGeom>
        </p:spPr>
        <p:txBody>
          <a:bodyPr spcFirstLastPara="1" vert="horz" wrap="square" lIns="121898" tIns="121898" rIns="121898" bIns="121898" rtlCol="0" anchor="t" anchorCtr="0">
            <a:noAutofit/>
          </a:bodyPr>
          <a:lstStyle/>
          <a:p>
            <a:pPr marL="0" indent="0" algn="ctr">
              <a:buSzPts val="1100"/>
              <a:buNone/>
            </a:pPr>
            <a:r>
              <a:rPr lang="en" sz="1800" b="1" dirty="0"/>
              <a:t>Tristan </a:t>
            </a:r>
            <a:r>
              <a:rPr lang="en" sz="1800" b="1" dirty="0" err="1"/>
              <a:t>Deleu</a:t>
            </a:r>
            <a:r>
              <a:rPr lang="en" sz="1800" b="1" dirty="0"/>
              <a:t>, </a:t>
            </a:r>
            <a:r>
              <a:rPr lang="en" sz="1800" b="1" dirty="0" err="1"/>
              <a:t>António</a:t>
            </a:r>
            <a:r>
              <a:rPr lang="en" sz="1800" b="1" dirty="0"/>
              <a:t> </a:t>
            </a:r>
            <a:r>
              <a:rPr lang="en" sz="1800" b="1" dirty="0" err="1"/>
              <a:t>Góis</a:t>
            </a:r>
            <a:r>
              <a:rPr lang="en" sz="1800" b="1" dirty="0"/>
              <a:t>, Chris </a:t>
            </a:r>
            <a:r>
              <a:rPr lang="en" sz="1800" b="1" dirty="0" err="1"/>
              <a:t>Emezue</a:t>
            </a:r>
            <a:r>
              <a:rPr lang="en" sz="1800" b="1" dirty="0"/>
              <a:t>, Mansi </a:t>
            </a:r>
            <a:r>
              <a:rPr lang="en" sz="1800" b="1" dirty="0" err="1"/>
              <a:t>Rankawat</a:t>
            </a:r>
            <a:r>
              <a:rPr lang="en" sz="1800" b="1" dirty="0"/>
              <a:t>, Simon Lacoste-Julien, Stefan Bauer,</a:t>
            </a:r>
            <a:r>
              <a:rPr lang="fr-CA" sz="1800" b="1" dirty="0"/>
              <a:t> </a:t>
            </a:r>
            <a:r>
              <a:rPr lang="en" sz="1800" b="1" dirty="0"/>
              <a:t>Yoshua Bengio</a:t>
            </a:r>
            <a:endParaRPr sz="1800" dirty="0"/>
          </a:p>
        </p:txBody>
      </p:sp>
      <p:pic>
        <p:nvPicPr>
          <p:cNvPr id="73" name="Google Shape;73;p14"/>
          <p:cNvPicPr preferRelativeResize="0"/>
          <p:nvPr/>
        </p:nvPicPr>
        <p:blipFill rotWithShape="1">
          <a:blip r:embed="rId3">
            <a:alphaModFix/>
          </a:blip>
          <a:srcRect l="28181" r="32403" b="27530"/>
          <a:stretch/>
        </p:blipFill>
        <p:spPr>
          <a:xfrm>
            <a:off x="10163872" y="4002423"/>
            <a:ext cx="1349310" cy="165302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ZoneTexte 3"/>
          <p:cNvSpPr txBox="1"/>
          <p:nvPr/>
        </p:nvSpPr>
        <p:spPr>
          <a:xfrm>
            <a:off x="4496859" y="2553862"/>
            <a:ext cx="4655121" cy="5490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95" latinLnBrk="0"/>
            <a:r>
              <a:rPr lang="fr-FR" sz="2968">
                <a:solidFill>
                  <a:srgbClr val="000000"/>
                </a:solidFill>
              </a:rPr>
              <a:t>UAI’2022,   </a:t>
            </a:r>
            <a:r>
              <a:rPr lang="fr-FR" sz="2968" dirty="0" err="1">
                <a:solidFill>
                  <a:srgbClr val="000000"/>
                </a:solidFill>
              </a:rPr>
              <a:t>arXiv</a:t>
            </a:r>
            <a:r>
              <a:rPr lang="fr-FR" sz="2968" dirty="0">
                <a:solidFill>
                  <a:srgbClr val="000000"/>
                </a:solidFill>
              </a:rPr>
              <a:t>:</a:t>
            </a:r>
            <a:r>
              <a:rPr lang="cs-CZ" sz="2968" dirty="0">
                <a:solidFill>
                  <a:srgbClr val="000000"/>
                </a:solidFill>
              </a:rPr>
              <a:t>2202.13903</a:t>
            </a:r>
            <a:endParaRPr lang="fr-FR" sz="2968" dirty="0">
              <a:solidFill>
                <a:srgbClr val="000000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/>
          <a:srcRect l="7051" r="9397"/>
          <a:stretch/>
        </p:blipFill>
        <p:spPr>
          <a:xfrm>
            <a:off x="795741" y="4048925"/>
            <a:ext cx="1342274" cy="1606522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5"/>
          <a:srcRect l="11378" r="19864"/>
          <a:stretch/>
        </p:blipFill>
        <p:spPr>
          <a:xfrm>
            <a:off x="2360754" y="4048924"/>
            <a:ext cx="1205381" cy="1654436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6"/>
          <a:srcRect l="18452" r="25719"/>
          <a:stretch/>
        </p:blipFill>
        <p:spPr>
          <a:xfrm>
            <a:off x="3801952" y="3965564"/>
            <a:ext cx="1179227" cy="1744509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7"/>
          <a:srcRect l="26836" t="596" r="24628" b="33369"/>
          <a:stretch/>
        </p:blipFill>
        <p:spPr>
          <a:xfrm>
            <a:off x="5244848" y="3996302"/>
            <a:ext cx="1286574" cy="1689108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02724" y="3965564"/>
            <a:ext cx="1283370" cy="1735541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9"/>
          <a:srcRect l="28074" r="24271" b="11603"/>
          <a:stretch/>
        </p:blipFill>
        <p:spPr>
          <a:xfrm>
            <a:off x="8557394" y="3965564"/>
            <a:ext cx="1428222" cy="1762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5803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="" xmlns:a16="http://schemas.microsoft.com/office/drawing/2014/main" id="{1E055170-8DA6-A941-A6A8-A0292D6FCA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74" y="6281561"/>
            <a:ext cx="825956" cy="415140"/>
          </a:xfrm>
          <a:prstGeom prst="rect">
            <a:avLst/>
          </a:prstGeom>
        </p:spPr>
      </p:pic>
      <p:sp>
        <p:nvSpPr>
          <p:cNvPr id="35" name="Espace réservé du numéro de diapositive 2">
            <a:extLst>
              <a:ext uri="{FF2B5EF4-FFF2-40B4-BE49-F238E27FC236}">
                <a16:creationId xmlns="" xmlns:a16="http://schemas.microsoft.com/office/drawing/2014/main" id="{A1323CE0-7415-6149-AB0E-0D8DDE089026}"/>
              </a:ext>
            </a:extLst>
          </p:cNvPr>
          <p:cNvSpPr txBox="1">
            <a:spLocks/>
          </p:cNvSpPr>
          <p:nvPr/>
        </p:nvSpPr>
        <p:spPr>
          <a:xfrm>
            <a:off x="10974009" y="6423415"/>
            <a:ext cx="573781" cy="18558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1507410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704" algn="l" defTabSz="1507410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410" algn="l" defTabSz="1507410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115" algn="l" defTabSz="1507410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4819" algn="l" defTabSz="1507410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8525" algn="l" defTabSz="1507410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230" algn="l" defTabSz="1507410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5936" algn="l" defTabSz="1507410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29640" algn="l" defTabSz="1507410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DDD136B-64FC-6A41-8A4B-BCAFB6CA4887}" type="slidenum">
              <a:rPr lang="en-CA" sz="849">
                <a:solidFill>
                  <a:srgbClr val="000000"/>
                </a:solidFill>
                <a:latin typeface="HK Grotesk" pitchFamily="2" charset="77"/>
              </a:rPr>
              <a:pPr algn="r"/>
              <a:t>27</a:t>
            </a:fld>
            <a:endParaRPr lang="en-CA" sz="849" dirty="0">
              <a:solidFill>
                <a:srgbClr val="000000"/>
              </a:solidFill>
              <a:latin typeface="HK Grotesk" pitchFamily="2" charset="77"/>
            </a:endParaRPr>
          </a:p>
        </p:txBody>
      </p:sp>
      <p:sp>
        <p:nvSpPr>
          <p:cNvPr id="8" name="Espace réservé du contenu 1">
            <a:extLst>
              <a:ext uri="{FF2B5EF4-FFF2-40B4-BE49-F238E27FC236}">
                <a16:creationId xmlns="" xmlns:a16="http://schemas.microsoft.com/office/drawing/2014/main" id="{110751DC-BE45-CD4A-95D1-80C29D724785}"/>
              </a:ext>
            </a:extLst>
          </p:cNvPr>
          <p:cNvSpPr txBox="1">
            <a:spLocks/>
          </p:cNvSpPr>
          <p:nvPr/>
        </p:nvSpPr>
        <p:spPr>
          <a:xfrm>
            <a:off x="652151" y="1534918"/>
            <a:ext cx="10321857" cy="30733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507663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360000" algn="l" defTabSz="1507663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578" indent="-376916" algn="l" defTabSz="1507663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410" indent="-376916" algn="l" defTabSz="1507663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241" indent="-376916" algn="l" defTabSz="1507663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072" indent="-376916" algn="l" defTabSz="1507663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99904" indent="-376916" algn="l" defTabSz="1507663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3735" indent="-376916" algn="l" defTabSz="1507663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7567" indent="-376916" algn="l" defTabSz="1507663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CA" sz="2183" dirty="0">
                <a:solidFill>
                  <a:srgbClr val="000000"/>
                </a:solidFill>
                <a:latin typeface="HK Grotesk" pitchFamily="2" charset="77"/>
              </a:rPr>
              <a:t>Generate a causal graph G sequentially while satisfying </a:t>
            </a:r>
            <a:r>
              <a:rPr lang="en-CA" sz="2183" dirty="0" err="1">
                <a:solidFill>
                  <a:srgbClr val="000000"/>
                </a:solidFill>
                <a:latin typeface="HK Grotesk" pitchFamily="2" charset="77"/>
              </a:rPr>
              <a:t>DAGness</a:t>
            </a:r>
            <a:r>
              <a:rPr lang="en-CA" sz="2183" dirty="0">
                <a:solidFill>
                  <a:srgbClr val="000000"/>
                </a:solidFill>
                <a:latin typeface="HK Grotesk" pitchFamily="2" charset="77"/>
              </a:rPr>
              <a:t> constraints exactly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CA" sz="2183" dirty="0">
                <a:solidFill>
                  <a:srgbClr val="000000"/>
                </a:solidFill>
                <a:latin typeface="HK Grotesk" pitchFamily="2" charset="77"/>
                <a:sym typeface="Wingdings"/>
              </a:rPr>
              <a:t>Generate </a:t>
            </a:r>
            <a:r>
              <a:rPr lang="en-CA" sz="2183" dirty="0" smtClean="0">
                <a:solidFill>
                  <a:srgbClr val="000000"/>
                </a:solidFill>
                <a:latin typeface="HK Grotesk" pitchFamily="2" charset="77"/>
                <a:sym typeface="Wingdings"/>
              </a:rPr>
              <a:t>parameters | </a:t>
            </a:r>
            <a:r>
              <a:rPr lang="en-CA" sz="2183" dirty="0">
                <a:solidFill>
                  <a:srgbClr val="000000"/>
                </a:solidFill>
                <a:latin typeface="HK Grotesk" pitchFamily="2" charset="77"/>
                <a:sym typeface="Wingdings"/>
              </a:rPr>
              <a:t>G (implicitly conditioning on data X)</a:t>
            </a:r>
            <a:endParaRPr lang="en-CA" sz="1941" dirty="0">
              <a:solidFill>
                <a:srgbClr val="000000"/>
              </a:solidFill>
              <a:latin typeface="HK Grotesk" pitchFamily="2" charset="77"/>
              <a:sym typeface="Wingdings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7275" y="2500527"/>
            <a:ext cx="7433981" cy="3922888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626751" y="217235"/>
            <a:ext cx="10946215" cy="12003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CA" sz="2400" b="1" i="0" u="none" strike="noStrike" cap="none" spc="0" normalizeH="0" baseline="0" dirty="0" err="1" smtClean="0">
                <a:ln>
                  <a:noFill/>
                </a:ln>
                <a:solidFill>
                  <a:schemeClr val="accent1"/>
                </a:solidFill>
                <a:effectLst/>
                <a:uFillTx/>
                <a:sym typeface="Helvetica"/>
              </a:rPr>
              <a:t>NeurIPS</a:t>
            </a:r>
            <a:r>
              <a:rPr kumimoji="0" lang="en-CA" sz="2400" b="1" i="0" u="none" strike="noStrike" cap="none" spc="0" normalizeH="0" dirty="0" smtClean="0">
                <a:ln>
                  <a:noFill/>
                </a:ln>
                <a:solidFill>
                  <a:schemeClr val="accent1"/>
                </a:solidFill>
                <a:effectLst/>
                <a:uFillTx/>
                <a:sym typeface="Helvetica"/>
              </a:rPr>
              <a:t> 2023, </a:t>
            </a:r>
            <a:r>
              <a:rPr kumimoji="0" lang="en-CA" sz="2400" b="1" i="0" u="none" strike="noStrike" cap="none" spc="0" normalizeH="0" dirty="0" err="1" smtClean="0">
                <a:ln>
                  <a:noFill/>
                </a:ln>
                <a:solidFill>
                  <a:schemeClr val="accent1"/>
                </a:solidFill>
                <a:effectLst/>
                <a:uFillTx/>
                <a:sym typeface="Helvetica"/>
              </a:rPr>
              <a:t>Deleu</a:t>
            </a:r>
            <a:r>
              <a:rPr kumimoji="0" lang="en-CA" sz="2400" b="1" i="0" u="none" strike="noStrike" cap="none" spc="0" normalizeH="0" dirty="0" smtClean="0">
                <a:ln>
                  <a:noFill/>
                </a:ln>
                <a:solidFill>
                  <a:schemeClr val="accent1"/>
                </a:solidFill>
                <a:effectLst/>
                <a:uFillTx/>
                <a:sym typeface="Helvetica"/>
              </a:rPr>
              <a:t> et al,</a:t>
            </a:r>
          </a:p>
          <a:p>
            <a:pPr latinLnBrk="0" hangingPunct="0"/>
            <a:r>
              <a:rPr lang="en-CA" sz="2400" b="1" dirty="0"/>
              <a:t>Joint Bayesian Inference of Graphical Structure and Parameters with a Single Generative Flow Network</a:t>
            </a:r>
            <a:endParaRPr kumimoji="0" lang="en-CA" sz="2400" b="1" i="0" u="none" strike="noStrike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FillTx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9362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4"/>
          <p:cNvSpPr txBox="1">
            <a:spLocks noGrp="1"/>
          </p:cNvSpPr>
          <p:nvPr>
            <p:ph type="ctrTitle"/>
          </p:nvPr>
        </p:nvSpPr>
        <p:spPr>
          <a:xfrm>
            <a:off x="1128488" y="897861"/>
            <a:ext cx="9935026" cy="1293616"/>
          </a:xfrm>
          <a:prstGeom prst="rect">
            <a:avLst/>
          </a:prstGeom>
        </p:spPr>
        <p:txBody>
          <a:bodyPr spcFirstLastPara="1" vert="horz" wrap="square" lIns="121898" tIns="121898" rIns="121898" bIns="121898" rtlCol="0" anchor="b" anchorCtr="0">
            <a:noAutofit/>
          </a:bodyPr>
          <a:lstStyle/>
          <a:p>
            <a:pPr algn="ctr">
              <a:buSzPts val="990"/>
            </a:pPr>
            <a:r>
              <a:rPr lang="fr-CA" sz="7200" dirty="0" err="1"/>
              <a:t>GFlowNet</a:t>
            </a:r>
            <a:r>
              <a:rPr lang="fr-CA" sz="7200" dirty="0"/>
              <a:t> Tutorial</a:t>
            </a:r>
            <a:endParaRPr sz="7200" dirty="0"/>
          </a:p>
        </p:txBody>
      </p:sp>
      <p:sp>
        <p:nvSpPr>
          <p:cNvPr id="67" name="Google Shape;67;p14"/>
          <p:cNvSpPr txBox="1">
            <a:spLocks noGrp="1"/>
          </p:cNvSpPr>
          <p:nvPr>
            <p:ph type="subTitle" idx="1"/>
          </p:nvPr>
        </p:nvSpPr>
        <p:spPr>
          <a:xfrm>
            <a:off x="415701" y="3474032"/>
            <a:ext cx="11360601" cy="1056782"/>
          </a:xfrm>
          <a:prstGeom prst="rect">
            <a:avLst/>
          </a:prstGeom>
        </p:spPr>
        <p:txBody>
          <a:bodyPr spcFirstLastPara="1" vert="horz" wrap="square" lIns="121898" tIns="121898" rIns="121898" bIns="121898" rtlCol="0" anchor="t" anchorCtr="0">
            <a:noAutofit/>
          </a:bodyPr>
          <a:lstStyle/>
          <a:p>
            <a:pPr marL="0" indent="0" algn="ctr">
              <a:buSzPts val="1100"/>
              <a:buNone/>
            </a:pPr>
            <a:r>
              <a:rPr lang="fr-FR" sz="4800" dirty="0">
                <a:hlinkClick r:id="rId3" invalidUrl="https:///"/>
              </a:rPr>
              <a:t>https://</a:t>
            </a:r>
            <a:r>
              <a:rPr lang="fr-FR" sz="4800" dirty="0">
                <a:hlinkClick r:id="rId4"/>
              </a:rPr>
              <a:t>yoshuabengio.org/gflownet-tutorial</a:t>
            </a:r>
            <a:endParaRPr lang="fr-FR" sz="4800" dirty="0"/>
          </a:p>
        </p:txBody>
      </p:sp>
      <p:sp>
        <p:nvSpPr>
          <p:cNvPr id="2" name="ZoneTexte 1"/>
          <p:cNvSpPr txBox="1"/>
          <p:nvPr/>
        </p:nvSpPr>
        <p:spPr>
          <a:xfrm>
            <a:off x="810260" y="5432408"/>
            <a:ext cx="10966042" cy="988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98" latinLnBrk="0"/>
            <a:r>
              <a:rPr lang="fr-FR" sz="2911" b="1" dirty="0">
                <a:solidFill>
                  <a:srgbClr val="FF0000"/>
                </a:solidFill>
              </a:rPr>
              <a:t>Papers at </a:t>
            </a:r>
            <a:r>
              <a:rPr lang="fr-FR" sz="2911" b="1" dirty="0" err="1">
                <a:solidFill>
                  <a:srgbClr val="FF0000"/>
                </a:solidFill>
              </a:rPr>
              <a:t>NeurIPS</a:t>
            </a:r>
            <a:r>
              <a:rPr lang="fr-FR" sz="2911" b="1" dirty="0">
                <a:solidFill>
                  <a:srgbClr val="FF0000"/>
                </a:solidFill>
              </a:rPr>
              <a:t> 2021, ICML 2022, UAI 2022, </a:t>
            </a:r>
            <a:r>
              <a:rPr lang="fr-FR" sz="2911" b="1" dirty="0" err="1">
                <a:solidFill>
                  <a:srgbClr val="FF0000"/>
                </a:solidFill>
              </a:rPr>
              <a:t>NeurIPS</a:t>
            </a:r>
            <a:r>
              <a:rPr lang="fr-FR" sz="2911" b="1" dirty="0">
                <a:solidFill>
                  <a:srgbClr val="FF0000"/>
                </a:solidFill>
              </a:rPr>
              <a:t> 2022, 		ICLR 2023, ICML </a:t>
            </a:r>
            <a:r>
              <a:rPr lang="fr-FR" sz="2911" b="1" dirty="0" smtClean="0">
                <a:solidFill>
                  <a:srgbClr val="FF0000"/>
                </a:solidFill>
              </a:rPr>
              <a:t>2023, </a:t>
            </a:r>
            <a:r>
              <a:rPr lang="fr-FR" sz="2911" b="1" dirty="0" err="1" smtClean="0">
                <a:solidFill>
                  <a:srgbClr val="FF0000"/>
                </a:solidFill>
              </a:rPr>
              <a:t>NeurIPS</a:t>
            </a:r>
            <a:r>
              <a:rPr lang="fr-FR" sz="2911" b="1" dirty="0" smtClean="0">
                <a:solidFill>
                  <a:srgbClr val="FF0000"/>
                </a:solidFill>
              </a:rPr>
              <a:t> 2023 </a:t>
            </a:r>
            <a:r>
              <a:rPr lang="fr-FR" sz="2911" b="1" dirty="0">
                <a:solidFill>
                  <a:srgbClr val="FF0000"/>
                </a:solidFill>
              </a:rPr>
              <a:t>+ </a:t>
            </a:r>
            <a:r>
              <a:rPr lang="fr-FR" sz="2911" b="1" dirty="0" err="1">
                <a:solidFill>
                  <a:srgbClr val="FF0000"/>
                </a:solidFill>
              </a:rPr>
              <a:t>ArXiv</a:t>
            </a:r>
            <a:endParaRPr lang="fr-FR" sz="2911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269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Enforcing Interpretability of Theories</a:t>
            </a:r>
            <a:endParaRPr lang="en-CA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550011"/>
            <a:ext cx="10515600" cy="435133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CA" dirty="0" smtClean="0"/>
              <a:t>We could add </a:t>
            </a:r>
            <a:r>
              <a:rPr lang="en-CA" b="1" dirty="0" err="1" smtClean="0">
                <a:solidFill>
                  <a:srgbClr val="FF0000"/>
                </a:solidFill>
              </a:rPr>
              <a:t>autoencoding</a:t>
            </a:r>
            <a:r>
              <a:rPr lang="en-CA" b="1" dirty="0" smtClean="0">
                <a:solidFill>
                  <a:srgbClr val="FF0000"/>
                </a:solidFill>
              </a:rPr>
              <a:t>-like losses </a:t>
            </a:r>
            <a:r>
              <a:rPr lang="en-CA" dirty="0" smtClean="0"/>
              <a:t>to enforce interpretability of the theories and partial theories and individual </a:t>
            </a:r>
            <a:r>
              <a:rPr lang="en-CA" dirty="0" err="1" smtClean="0"/>
              <a:t>latents</a:t>
            </a:r>
            <a:r>
              <a:rPr lang="en-CA" dirty="0" smtClean="0"/>
              <a:t> generated by the Bayesian posterior.</a:t>
            </a:r>
          </a:p>
          <a:p>
            <a:pPr lvl="1"/>
            <a:r>
              <a:rPr lang="en-CA" dirty="0" smtClean="0"/>
              <a:t>To check that the AI's theories make sense to humans</a:t>
            </a:r>
          </a:p>
          <a:p>
            <a:pPr lvl="1"/>
            <a:r>
              <a:rPr lang="en-CA" dirty="0" smtClean="0"/>
              <a:t>To help human scientists grow their understanding of the world</a:t>
            </a:r>
          </a:p>
          <a:p>
            <a:pPr lvl="1"/>
            <a:r>
              <a:rPr lang="en-CA" dirty="0" smtClean="0"/>
              <a:t>To convert into a logical form statements in natural language that are meant to represent something true or false and vice-versa (e.g., such action is harmful)</a:t>
            </a:r>
          </a:p>
          <a:p>
            <a:r>
              <a:rPr lang="en-CA" dirty="0" smtClean="0"/>
              <a:t>Does not necessarily limit the AI theories because the theories can include definitions of new concept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373393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113335"/>
            <a:ext cx="10515600" cy="1325563"/>
          </a:xfrm>
        </p:spPr>
        <p:txBody>
          <a:bodyPr/>
          <a:lstStyle/>
          <a:p>
            <a:r>
              <a:rPr lang="en-CA" dirty="0"/>
              <a:t>Misalignment Harms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298219"/>
            <a:ext cx="10515600" cy="4351338"/>
          </a:xfrm>
        </p:spPr>
        <p:txBody>
          <a:bodyPr/>
          <a:lstStyle/>
          <a:p>
            <a:r>
              <a:rPr lang="en-CA" b="1" dirty="0">
                <a:solidFill>
                  <a:srgbClr val="FF0000"/>
                </a:solidFill>
              </a:rPr>
              <a:t>Unintended misalignment </a:t>
            </a:r>
            <a:r>
              <a:rPr lang="en-CA" dirty="0">
                <a:sym typeface="Wingdings"/>
              </a:rPr>
              <a:t> </a:t>
            </a:r>
            <a:r>
              <a:rPr lang="en-CA" b="1" dirty="0" smtClean="0">
                <a:sym typeface="Wingdings"/>
              </a:rPr>
              <a:t>unethical AI</a:t>
            </a:r>
            <a:r>
              <a:rPr lang="en-CA" dirty="0" smtClean="0">
                <a:sym typeface="Wingdings"/>
              </a:rPr>
              <a:t>, offensive </a:t>
            </a:r>
            <a:r>
              <a:rPr lang="en-CA" dirty="0">
                <a:sym typeface="Wingdings"/>
              </a:rPr>
              <a:t>AI, discriminative AI, unfair AI-driven decisions, privacy violations</a:t>
            </a:r>
          </a:p>
          <a:p>
            <a:pPr>
              <a:lnSpc>
                <a:spcPct val="40000"/>
              </a:lnSpc>
            </a:pPr>
            <a:endParaRPr lang="en-CA" dirty="0">
              <a:sym typeface="Wingdings"/>
            </a:endParaRPr>
          </a:p>
          <a:p>
            <a:r>
              <a:rPr lang="en-CA" b="1" dirty="0">
                <a:solidFill>
                  <a:srgbClr val="FF0000"/>
                </a:solidFill>
                <a:sym typeface="Wingdings"/>
              </a:rPr>
              <a:t>Unintended misalignment </a:t>
            </a:r>
            <a:r>
              <a:rPr lang="en-CA" dirty="0">
                <a:sym typeface="Wingdings"/>
              </a:rPr>
              <a:t> </a:t>
            </a:r>
            <a:r>
              <a:rPr lang="en-CA" b="1" dirty="0">
                <a:sym typeface="Wingdings"/>
              </a:rPr>
              <a:t>facilitates misuse in the hands of bad </a:t>
            </a:r>
            <a:r>
              <a:rPr lang="en-CA" b="1" dirty="0" smtClean="0">
                <a:sym typeface="Wingdings"/>
              </a:rPr>
              <a:t>actors</a:t>
            </a:r>
            <a:r>
              <a:rPr lang="en-CA" dirty="0">
                <a:sym typeface="Wingdings"/>
              </a:rPr>
              <a:t> </a:t>
            </a:r>
            <a:r>
              <a:rPr lang="en-CA" dirty="0" smtClean="0">
                <a:sym typeface="Wingdings"/>
              </a:rPr>
              <a:t>(e.g. thanks to open-source + fine-tuning undoing safety)</a:t>
            </a:r>
            <a:endParaRPr lang="en-CA" dirty="0">
              <a:sym typeface="Wingdings"/>
            </a:endParaRPr>
          </a:p>
          <a:p>
            <a:pPr lvl="1"/>
            <a:r>
              <a:rPr lang="en-CA" dirty="0">
                <a:sym typeface="Wingdings"/>
              </a:rPr>
              <a:t>Disinformation</a:t>
            </a:r>
          </a:p>
          <a:p>
            <a:pPr lvl="1"/>
            <a:r>
              <a:rPr lang="en-CA" dirty="0">
                <a:sym typeface="Wingdings"/>
              </a:rPr>
              <a:t>Cyberattacks</a:t>
            </a:r>
          </a:p>
          <a:p>
            <a:pPr lvl="1"/>
            <a:r>
              <a:rPr lang="en-CA" dirty="0">
                <a:sym typeface="Wingdings"/>
              </a:rPr>
              <a:t>Bioweapons</a:t>
            </a:r>
          </a:p>
          <a:p>
            <a:pPr lvl="1"/>
            <a:r>
              <a:rPr lang="en-CA" dirty="0">
                <a:sym typeface="Wingdings"/>
              </a:rPr>
              <a:t>Chemical weapons, </a:t>
            </a:r>
            <a:r>
              <a:rPr lang="en-CA" dirty="0" err="1">
                <a:sym typeface="Wingdings"/>
              </a:rPr>
              <a:t>etc</a:t>
            </a:r>
            <a:endParaRPr lang="en-CA" dirty="0">
              <a:sym typeface="Wingdings"/>
            </a:endParaRPr>
          </a:p>
          <a:p>
            <a:pPr lvl="1">
              <a:lnSpc>
                <a:spcPct val="40000"/>
              </a:lnSpc>
            </a:pPr>
            <a:endParaRPr lang="en-CA" dirty="0">
              <a:sym typeface="Wingdings"/>
            </a:endParaRPr>
          </a:p>
          <a:p>
            <a:r>
              <a:rPr lang="en-CA" b="1" dirty="0">
                <a:solidFill>
                  <a:srgbClr val="FF0000"/>
                </a:solidFill>
                <a:sym typeface="Wingdings"/>
              </a:rPr>
              <a:t>Unintended misalignment </a:t>
            </a:r>
            <a:r>
              <a:rPr lang="en-CA" dirty="0">
                <a:sym typeface="Wingdings"/>
              </a:rPr>
              <a:t> facilitates creating runaway AI, with </a:t>
            </a:r>
            <a:r>
              <a:rPr lang="en-CA" b="1" dirty="0">
                <a:sym typeface="Wingdings"/>
              </a:rPr>
              <a:t>dangerous </a:t>
            </a:r>
            <a:r>
              <a:rPr lang="en-CA" b="1" dirty="0" smtClean="0">
                <a:sym typeface="Wingdings"/>
              </a:rPr>
              <a:t>self-preservation </a:t>
            </a:r>
            <a:r>
              <a:rPr lang="en-CA" b="1" dirty="0">
                <a:sym typeface="Wingdings"/>
              </a:rPr>
              <a:t>goals</a:t>
            </a:r>
          </a:p>
        </p:txBody>
      </p:sp>
    </p:spTree>
    <p:extLst>
      <p:ext uri="{BB962C8B-B14F-4D97-AF65-F5344CB8AC3E}">
        <p14:creationId xmlns:p14="http://schemas.microsoft.com/office/powerpoint/2010/main" val="13687325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Obtaining Conservative Robustness </a:t>
            </a:r>
            <a:endParaRPr lang="en-CA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What if the correct theory is the only one to predict harm out of a continuum of incorrect theories that are also compatible with the data?</a:t>
            </a:r>
          </a:p>
          <a:p>
            <a:pPr lvl="1"/>
            <a:r>
              <a:rPr lang="en-CA" dirty="0" smtClean="0"/>
              <a:t>We need to be more conservative and use </a:t>
            </a:r>
            <a:r>
              <a:rPr lang="en-CA" b="1" dirty="0" smtClean="0">
                <a:solidFill>
                  <a:srgbClr val="FF0000"/>
                </a:solidFill>
              </a:rPr>
              <a:t>amortized adversarial methods</a:t>
            </a:r>
            <a:r>
              <a:rPr lang="en-CA" dirty="0" smtClean="0"/>
              <a:t> (your paranoid self) to generate (implicitly search for) theories that predict major harm among those that fit the data</a:t>
            </a:r>
          </a:p>
          <a:p>
            <a:r>
              <a:rPr lang="en-CA" dirty="0" smtClean="0"/>
              <a:t>How to account for the </a:t>
            </a:r>
            <a:r>
              <a:rPr lang="en-CA" b="1" dirty="0" smtClean="0">
                <a:solidFill>
                  <a:srgbClr val="FF0000"/>
                </a:solidFill>
              </a:rPr>
              <a:t>imperfections of the neural net </a:t>
            </a:r>
            <a:r>
              <a:rPr lang="en-CA" dirty="0" smtClean="0"/>
              <a:t>estimator of the posterior?</a:t>
            </a:r>
          </a:p>
          <a:p>
            <a:pPr lvl="1"/>
            <a:r>
              <a:rPr lang="en-CA" dirty="0" smtClean="0"/>
              <a:t>Use the losses to estimate a confidence interval around the estimated log-</a:t>
            </a:r>
            <a:r>
              <a:rPr lang="en-CA" dirty="0" err="1" smtClean="0"/>
              <a:t>probs</a:t>
            </a:r>
            <a:r>
              <a:rPr lang="en-CA" dirty="0" smtClean="0"/>
              <a:t> and act accordingly conservatively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585959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D833E2A-59C9-2064-BB1A-01CB1B137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Challenges towards an Aligned AI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D0C097F9-9637-0E23-94C0-262F4BD305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Demonstrate safety bounds with exact </a:t>
            </a:r>
            <a:r>
              <a:rPr lang="en-CA" dirty="0" smtClean="0"/>
              <a:t>Bayesian </a:t>
            </a:r>
            <a:r>
              <a:rPr lang="en-CA" dirty="0" smtClean="0"/>
              <a:t>posteriors</a:t>
            </a:r>
            <a:endParaRPr lang="en-CA" dirty="0"/>
          </a:p>
          <a:p>
            <a:endParaRPr lang="en-CA" dirty="0"/>
          </a:p>
          <a:p>
            <a:r>
              <a:rPr lang="en-CA" dirty="0"/>
              <a:t>How </a:t>
            </a:r>
            <a:r>
              <a:rPr lang="en-CA" dirty="0" smtClean="0"/>
              <a:t>do </a:t>
            </a:r>
            <a:r>
              <a:rPr lang="en-CA" dirty="0" err="1" smtClean="0"/>
              <a:t>GFlowNet</a:t>
            </a:r>
            <a:r>
              <a:rPr lang="en-CA" dirty="0" smtClean="0"/>
              <a:t> losses </a:t>
            </a:r>
            <a:r>
              <a:rPr lang="en-CA" dirty="0"/>
              <a:t>translate </a:t>
            </a:r>
            <a:r>
              <a:rPr lang="en-CA" dirty="0" smtClean="0"/>
              <a:t>into </a:t>
            </a:r>
            <a:r>
              <a:rPr lang="en-CA" dirty="0"/>
              <a:t>safety bounds?</a:t>
            </a:r>
          </a:p>
          <a:p>
            <a:endParaRPr lang="en-CA" dirty="0"/>
          </a:p>
          <a:p>
            <a:r>
              <a:rPr lang="en-CA" dirty="0"/>
              <a:t>Missing modes may always be a problem, but in principle we could at least include all human theories in the posterior</a:t>
            </a:r>
          </a:p>
          <a:p>
            <a:endParaRPr lang="en-CA" dirty="0"/>
          </a:p>
          <a:p>
            <a:r>
              <a:rPr lang="en-CA" dirty="0"/>
              <a:t>Scaling GFN-like inference to mega-scale is required, may work if, like humans, the GFN only emits </a:t>
            </a:r>
            <a:r>
              <a:rPr lang="en-CA" b="1" dirty="0">
                <a:solidFill>
                  <a:srgbClr val="FF0000"/>
                </a:solidFill>
              </a:rPr>
              <a:t>partial theories</a:t>
            </a:r>
          </a:p>
        </p:txBody>
      </p:sp>
    </p:spTree>
    <p:extLst>
      <p:ext uri="{BB962C8B-B14F-4D97-AF65-F5344CB8AC3E}">
        <p14:creationId xmlns:p14="http://schemas.microsoft.com/office/powerpoint/2010/main" val="42942269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xmlns="" id="{BD2096CF-CBD7-915E-8260-5F470826962A}"/>
              </a:ext>
            </a:extLst>
          </p:cNvPr>
          <p:cNvSpPr txBox="1">
            <a:spLocks/>
          </p:cNvSpPr>
          <p:nvPr/>
        </p:nvSpPr>
        <p:spPr>
          <a:xfrm>
            <a:off x="787254" y="3319667"/>
            <a:ext cx="1056448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algn="ctr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5400" kern="1200" spc="5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atinLnBrk="0">
              <a:lnSpc>
                <a:spcPct val="100000"/>
              </a:lnSpc>
            </a:pPr>
            <a:r>
              <a:rPr lang="fr-CA" sz="6000" b="1" i="0" u="none" strike="noStrike" cap="none" dirty="0" err="1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Thank</a:t>
            </a:r>
            <a:r>
              <a:rPr lang="fr-CA" sz="6000" b="1" i="0" u="none" strike="noStrike" cap="none" dirty="0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CA" sz="6000" b="1" i="0" u="none" strike="noStrike" cap="none" dirty="0" err="1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you</a:t>
            </a:r>
            <a:r>
              <a:rPr lang="fr-CA" sz="6000" b="1" i="0" u="none" strike="noStrike" cap="none" dirty="0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 for </a:t>
            </a:r>
            <a:r>
              <a:rPr lang="fr-CA" sz="6000" b="1" i="0" u="none" strike="noStrike" cap="none" dirty="0" err="1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your</a:t>
            </a:r>
            <a:r>
              <a:rPr lang="fr-CA" sz="6000" b="1" i="0" u="none" strike="noStrike" cap="none" dirty="0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 attention and </a:t>
            </a:r>
            <a:r>
              <a:rPr lang="fr-CA" sz="6000" b="1" i="0" u="none" strike="noStrike" cap="none" dirty="0" err="1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taking</a:t>
            </a:r>
            <a:r>
              <a:rPr lang="fr-CA" sz="6000" b="1" i="0" u="none" strike="noStrike" cap="none" dirty="0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 the time to digest all </a:t>
            </a:r>
            <a:r>
              <a:rPr lang="fr-CA" sz="6000" b="1" i="0" u="none" strike="noStrike" cap="none" dirty="0" err="1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this</a:t>
            </a:r>
            <a:r>
              <a:rPr lang="fr-CA" sz="6000" b="1" i="0" u="none" strike="noStrike" cap="none" dirty="0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kumimoji="1" lang="en-US" altLang="ko-KR" sz="6000" b="1" spc="-10" dirty="0">
              <a:solidFill>
                <a:srgbClr val="7030A0"/>
              </a:solidFill>
              <a:latin typeface="+mn-lt"/>
              <a:ea typeface="Noto Sans CJK KR Medium" panose="020B0600000000000000" pitchFamily="34" charset="-127"/>
              <a:cs typeface="Arial" panose="020B0604020202020204" pitchFamily="34" charset="0"/>
            </a:endParaRPr>
          </a:p>
        </p:txBody>
      </p:sp>
      <p:grpSp>
        <p:nvGrpSpPr>
          <p:cNvPr id="3" name="Grouper 2"/>
          <p:cNvGrpSpPr/>
          <p:nvPr/>
        </p:nvGrpSpPr>
        <p:grpSpPr>
          <a:xfrm>
            <a:off x="8877300" y="2822800"/>
            <a:ext cx="3314700" cy="993734"/>
            <a:chOff x="7095606" y="1882816"/>
            <a:chExt cx="3314700" cy="993734"/>
          </a:xfrm>
        </p:grpSpPr>
        <p:pic>
          <p:nvPicPr>
            <p:cNvPr id="8" name="그림 7" descr="블랙, 어둠이(가) 표시된 사진&#10;&#10;자동 생성된 설명">
              <a:extLst>
                <a:ext uri="{FF2B5EF4-FFF2-40B4-BE49-F238E27FC236}">
                  <a16:creationId xmlns:a16="http://schemas.microsoft.com/office/drawing/2014/main" xmlns="" id="{68EEF00C-345D-DF34-1912-6C7ACD9768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1762" y="1882816"/>
              <a:ext cx="3182388" cy="993734"/>
            </a:xfrm>
            <a:prstGeom prst="rect">
              <a:avLst/>
            </a:prstGeom>
          </p:spPr>
        </p:pic>
        <p:sp>
          <p:nvSpPr>
            <p:cNvPr id="9" name="제목 1">
              <a:extLst>
                <a:ext uri="{FF2B5EF4-FFF2-40B4-BE49-F238E27FC236}">
                  <a16:creationId xmlns:a16="http://schemas.microsoft.com/office/drawing/2014/main" xmlns="" id="{233D6204-B3E2-49FF-197A-89FA0F740DD8}"/>
                </a:ext>
              </a:extLst>
            </p:cNvPr>
            <p:cNvSpPr txBox="1">
              <a:spLocks/>
            </p:cNvSpPr>
            <p:nvPr/>
          </p:nvSpPr>
          <p:spPr>
            <a:xfrm>
              <a:off x="7095606" y="1959708"/>
              <a:ext cx="3314700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 algn="ctr" defTabSz="914400" rtl="0" eaLnBrk="1" latinLnBrk="1" hangingPunct="1">
                <a:lnSpc>
                  <a:spcPct val="90000"/>
                </a:lnSpc>
                <a:spcBef>
                  <a:spcPct val="0"/>
                </a:spcBef>
                <a:buNone/>
                <a:defRPr lang="ko-KR" altLang="en-US" sz="5400" kern="1200" spc="50" dirty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kumimoji="1" lang="en-US" altLang="ko-KR" sz="3800" b="1" spc="-50" dirty="0">
                  <a:latin typeface="+mn-lt"/>
                  <a:ea typeface="Noto Sans CJK KR Medium" panose="020B0600000000000000" pitchFamily="34" charset="-127"/>
                  <a:cs typeface="Arial" panose="020B0604020202020204" pitchFamily="34" charset="0"/>
                </a:rPr>
                <a:t>Questions?</a:t>
              </a:r>
            </a:p>
          </p:txBody>
        </p:sp>
      </p:grpSp>
      <p:pic>
        <p:nvPicPr>
          <p:cNvPr id="2" name="Picture 2">
            <a:extLst>
              <a:ext uri="{FF2B5EF4-FFF2-40B4-BE49-F238E27FC236}">
                <a16:creationId xmlns:a16="http://schemas.microsoft.com/office/drawing/2014/main" xmlns="" id="{EDB5396F-10B6-0481-5597-3BC388F47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43199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4795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Coordination Harms</a:t>
            </a:r>
            <a:endParaRPr lang="en-CA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690690"/>
            <a:ext cx="10515600" cy="4351338"/>
          </a:xfrm>
        </p:spPr>
        <p:txBody>
          <a:bodyPr/>
          <a:lstStyle/>
          <a:p>
            <a:r>
              <a:rPr lang="en-CA" b="1" dirty="0" smtClean="0">
                <a:solidFill>
                  <a:srgbClr val="FF0000"/>
                </a:solidFill>
              </a:rPr>
              <a:t>Open-source debate</a:t>
            </a:r>
            <a:r>
              <a:rPr lang="en-CA" dirty="0" smtClean="0"/>
              <a:t>: irreversible proliferation, escapes purview of regulator, handing dangerous weapons to bad actors – consider alternatives to full open-source release + democratic governance</a:t>
            </a:r>
          </a:p>
          <a:p>
            <a:pPr>
              <a:lnSpc>
                <a:spcPct val="40000"/>
              </a:lnSpc>
            </a:pPr>
            <a:endParaRPr lang="en-CA" dirty="0"/>
          </a:p>
          <a:p>
            <a:r>
              <a:rPr lang="en-CA" b="1" dirty="0" smtClean="0">
                <a:solidFill>
                  <a:srgbClr val="FF0000"/>
                </a:solidFill>
              </a:rPr>
              <a:t>Frankenstein scenario</a:t>
            </a:r>
            <a:r>
              <a:rPr lang="en-CA" dirty="0" smtClean="0"/>
              <a:t>: people who value intelligence above all else and are happy to welcome humanity's succession, SAI; intentionally providing primary self-preservation goal to SAI</a:t>
            </a:r>
          </a:p>
          <a:p>
            <a:pPr>
              <a:lnSpc>
                <a:spcPct val="40000"/>
              </a:lnSpc>
            </a:pPr>
            <a:endParaRPr lang="en-CA" dirty="0"/>
          </a:p>
          <a:p>
            <a:r>
              <a:rPr lang="en-CA" b="1" dirty="0" smtClean="0">
                <a:solidFill>
                  <a:srgbClr val="FF0000"/>
                </a:solidFill>
              </a:rPr>
              <a:t>Societal collapse</a:t>
            </a:r>
            <a:r>
              <a:rPr lang="en-CA" dirty="0" smtClean="0"/>
              <a:t>: e.g., collapse/instability of democracies/economies, willingly handing over gradually more control to AIs because of competition (economic, military, </a:t>
            </a:r>
            <a:r>
              <a:rPr lang="en-CA" dirty="0" err="1" smtClean="0"/>
              <a:t>etc</a:t>
            </a:r>
            <a:r>
              <a:rPr lang="en-CA" dirty="0" smtClean="0"/>
              <a:t>)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8852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6" name="Google Shape;406;p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444037" y="0"/>
            <a:ext cx="2747963" cy="2514600"/>
          </a:xfrm>
          <a:prstGeom prst="rect">
            <a:avLst/>
          </a:prstGeom>
          <a:noFill/>
          <a:ln>
            <a:noFill/>
          </a:ln>
        </p:spPr>
      </p:pic>
      <p:sp>
        <p:nvSpPr>
          <p:cNvPr id="404" name="Google Shape;404;p9"/>
          <p:cNvSpPr txBox="1">
            <a:spLocks noGrp="1"/>
          </p:cNvSpPr>
          <p:nvPr>
            <p:ph type="title"/>
          </p:nvPr>
        </p:nvSpPr>
        <p:spPr>
          <a:xfrm>
            <a:off x="639417" y="118431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buSzPts val="1800"/>
            </a:pPr>
            <a:r>
              <a:rPr lang="fr-CA" dirty="0" err="1">
                <a:solidFill>
                  <a:srgbClr val="7030A0"/>
                </a:solidFill>
              </a:rPr>
              <a:t>Democracy</a:t>
            </a:r>
            <a:r>
              <a:rPr lang="fr-CA" dirty="0">
                <a:solidFill>
                  <a:srgbClr val="7030A0"/>
                </a:solidFill>
              </a:rPr>
              <a:t> vs Power Concentration</a:t>
            </a:r>
            <a:endParaRPr dirty="0">
              <a:solidFill>
                <a:srgbClr val="7030A0"/>
              </a:solidFill>
            </a:endParaRPr>
          </a:p>
        </p:txBody>
      </p:sp>
      <p:sp>
        <p:nvSpPr>
          <p:cNvPr id="405" name="Google Shape;405;p9"/>
          <p:cNvSpPr txBox="1">
            <a:spLocks noGrp="1"/>
          </p:cNvSpPr>
          <p:nvPr>
            <p:ph type="body" idx="1"/>
          </p:nvPr>
        </p:nvSpPr>
        <p:spPr>
          <a:xfrm>
            <a:off x="514350" y="1257300"/>
            <a:ext cx="11379937" cy="4679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189" indent="-342891" latinLnBrk="0"/>
            <a:r>
              <a:rPr lang="fr-CA" sz="2667" dirty="0"/>
              <a:t>AI in a few hands = power concentration</a:t>
            </a:r>
          </a:p>
          <a:p>
            <a:pPr marL="457189" indent="-342891" latinLnBrk="0"/>
            <a:r>
              <a:rPr lang="fr-CA" sz="2667" dirty="0" err="1"/>
              <a:t>Increased</a:t>
            </a:r>
            <a:r>
              <a:rPr lang="fr-CA" sz="2667" dirty="0"/>
              <a:t> AI </a:t>
            </a:r>
            <a:r>
              <a:rPr lang="fr-CA" sz="2667" dirty="0" err="1"/>
              <a:t>capability</a:t>
            </a:r>
            <a:r>
              <a:rPr lang="fr-CA" sz="2667" dirty="0"/>
              <a:t> = </a:t>
            </a:r>
            <a:r>
              <a:rPr lang="fr-CA" sz="2667" dirty="0" err="1"/>
              <a:t>increased</a:t>
            </a:r>
            <a:r>
              <a:rPr lang="fr-CA" sz="2667" dirty="0"/>
              <a:t> power concentration</a:t>
            </a:r>
            <a:endParaRPr sz="2667" dirty="0"/>
          </a:p>
          <a:p>
            <a:pPr marL="457189" indent="-342891" latinLnBrk="0"/>
            <a:r>
              <a:rPr lang="fr-CA" sz="2667" dirty="0" err="1" smtClean="0"/>
              <a:t>Powerful</a:t>
            </a:r>
            <a:r>
              <a:rPr lang="fr-CA" sz="2667" dirty="0" smtClean="0"/>
              <a:t> </a:t>
            </a:r>
            <a:r>
              <a:rPr lang="fr-CA" sz="2667" dirty="0"/>
              <a:t>AI in a </a:t>
            </a:r>
            <a:r>
              <a:rPr lang="fr-CA" sz="2667" dirty="0"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18"/>
                  </a:ext>
                </a:extLst>
              </a:rPr>
              <a:t>few (public or </a:t>
            </a:r>
            <a:r>
              <a:rPr lang="fr-CA" sz="2667" dirty="0" err="1"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18"/>
                  </a:ext>
                </a:extLst>
              </a:rPr>
              <a:t>private</a:t>
            </a:r>
            <a:r>
              <a:rPr lang="fr-CA" sz="2667" dirty="0"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18"/>
                  </a:ext>
                </a:extLst>
              </a:rPr>
              <a:t>) hands</a:t>
            </a:r>
            <a:r>
              <a:rPr lang="fr-CA" sz="2667" dirty="0"/>
              <a:t> = </a:t>
            </a:r>
            <a:r>
              <a:rPr lang="fr-CA" sz="2667" dirty="0" err="1"/>
              <a:t>extreme</a:t>
            </a:r>
            <a:r>
              <a:rPr lang="fr-CA" sz="2667" dirty="0"/>
              <a:t> power </a:t>
            </a:r>
            <a:r>
              <a:rPr lang="fr-CA" sz="2667" dirty="0"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19"/>
                  </a:ext>
                </a:extLst>
              </a:rPr>
              <a:t>concentration</a:t>
            </a:r>
            <a:r>
              <a:rPr lang="fr-CA" sz="2667" dirty="0"/>
              <a:t> = </a:t>
            </a:r>
            <a:r>
              <a:rPr lang="fr-CA" sz="3200" dirty="0" err="1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capacity</a:t>
            </a:r>
            <a:r>
              <a:rPr lang="fr-CA" sz="3200" dirty="0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 to </a:t>
            </a:r>
            <a:r>
              <a:rPr lang="fr-CA" sz="3200" dirty="0" err="1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profoundly</a:t>
            </a:r>
            <a:r>
              <a:rPr lang="fr-CA" sz="3200" dirty="0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 influence, </a:t>
            </a:r>
            <a:r>
              <a:rPr lang="fr-CA" sz="3200" dirty="0" err="1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destabilize</a:t>
            </a:r>
            <a:r>
              <a:rPr lang="fr-CA" sz="3200" dirty="0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 or </a:t>
            </a:r>
            <a:r>
              <a:rPr lang="fr-CA" sz="3200" dirty="0" err="1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dictate</a:t>
            </a:r>
            <a:r>
              <a:rPr lang="fr-CA" sz="3200" dirty="0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fr-CA" sz="3200" dirty="0" err="1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political</a:t>
            </a:r>
            <a:r>
              <a:rPr lang="fr-CA" sz="3200" dirty="0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, social, </a:t>
            </a:r>
            <a:r>
              <a:rPr lang="fr-CA" sz="3200" dirty="0" err="1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military</a:t>
            </a:r>
            <a:r>
              <a:rPr lang="fr-CA" sz="3200" dirty="0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 and </a:t>
            </a:r>
            <a:r>
              <a:rPr lang="fr-CA" sz="3200" dirty="0" err="1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economic</a:t>
            </a:r>
            <a:r>
              <a:rPr lang="fr-CA" sz="3200" dirty="0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fr-CA" sz="3200" dirty="0" smtClean="0">
                <a:solidFill>
                  <a:srgbClr val="444746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agendas</a:t>
            </a:r>
            <a:endParaRPr lang="fr-CA" sz="5333" dirty="0">
              <a:highlight>
                <a:srgbClr val="FFFFFF"/>
              </a:highlight>
              <a:sym typeface="Roboto"/>
            </a:endParaRPr>
          </a:p>
          <a:p>
            <a:pPr marL="457189" indent="-342891" latinLnBrk="0"/>
            <a:r>
              <a:rPr lang="fr-CA" dirty="0" err="1" smtClean="0">
                <a:highlight>
                  <a:srgbClr val="FFFFFF"/>
                </a:highlight>
                <a:sym typeface="Roboto"/>
              </a:rPr>
              <a:t>Unintended</a:t>
            </a:r>
            <a:r>
              <a:rPr lang="fr-CA" dirty="0" smtClean="0">
                <a:highlight>
                  <a:srgbClr val="FFFFFF"/>
                </a:highlight>
                <a:sym typeface="Roboto"/>
              </a:rPr>
              <a:t> </a:t>
            </a:r>
            <a:r>
              <a:rPr lang="fr-CA" dirty="0" err="1" smtClean="0">
                <a:highlight>
                  <a:srgbClr val="FFFFFF"/>
                </a:highlight>
                <a:sym typeface="Roboto"/>
              </a:rPr>
              <a:t>consequences</a:t>
            </a:r>
            <a:r>
              <a:rPr lang="fr-CA" dirty="0" smtClean="0">
                <a:highlight>
                  <a:srgbClr val="FFFFFF"/>
                </a:highlight>
                <a:sym typeface="Roboto"/>
              </a:rPr>
              <a:t>, </a:t>
            </a:r>
            <a:r>
              <a:rPr lang="fr-CA" dirty="0" err="1" smtClean="0">
                <a:highlight>
                  <a:srgbClr val="FFFFFF"/>
                </a:highlight>
                <a:sym typeface="Roboto"/>
              </a:rPr>
              <a:t>e.g</a:t>
            </a:r>
            <a:r>
              <a:rPr lang="fr-CA" dirty="0" smtClean="0">
                <a:highlight>
                  <a:srgbClr val="FFFFFF"/>
                </a:highlight>
                <a:sym typeface="Roboto"/>
              </a:rPr>
              <a:t>., job </a:t>
            </a:r>
            <a:r>
              <a:rPr lang="fr-CA" dirty="0" err="1" smtClean="0">
                <a:highlight>
                  <a:srgbClr val="FFFFFF"/>
                </a:highlight>
                <a:sym typeface="Roboto"/>
              </a:rPr>
              <a:t>market</a:t>
            </a:r>
            <a:r>
              <a:rPr lang="fr-CA" dirty="0" smtClean="0">
                <a:highlight>
                  <a:srgbClr val="FFFFFF"/>
                </a:highlight>
                <a:sym typeface="Roboto"/>
              </a:rPr>
              <a:t> disruptions</a:t>
            </a:r>
          </a:p>
          <a:p>
            <a:pPr marL="457189" indent="-342891" latinLnBrk="0">
              <a:lnSpc>
                <a:spcPct val="0"/>
              </a:lnSpc>
            </a:pPr>
            <a:endParaRPr sz="1200" dirty="0"/>
          </a:p>
          <a:p>
            <a:pPr marL="114297" indent="0" latinLnBrk="0">
              <a:buNone/>
            </a:pPr>
            <a:r>
              <a:rPr lang="fr-CA" sz="2667" dirty="0"/>
              <a:t>     → </a:t>
            </a:r>
            <a:r>
              <a:rPr lang="fr-CA" sz="2667" b="1" dirty="0">
                <a:solidFill>
                  <a:srgbClr val="FF0000"/>
                </a:solidFill>
              </a:rPr>
              <a:t>Future Frontier </a:t>
            </a:r>
            <a:r>
              <a:rPr lang="fr-CA" sz="2667" b="1" dirty="0" err="1">
                <a:solidFill>
                  <a:srgbClr val="FF0000"/>
                </a:solidFill>
              </a:rPr>
              <a:t>AIs</a:t>
            </a:r>
            <a:r>
              <a:rPr lang="fr-CA" sz="2667" b="1" dirty="0">
                <a:solidFill>
                  <a:srgbClr val="FF0000"/>
                </a:solidFill>
              </a:rPr>
              <a:t> </a:t>
            </a:r>
            <a:r>
              <a:rPr lang="fr-CA" sz="2667" b="1" dirty="0" err="1">
                <a:solidFill>
                  <a:srgbClr val="FF0000"/>
                </a:solidFill>
              </a:rPr>
              <a:t>can</a:t>
            </a:r>
            <a:r>
              <a:rPr lang="fr-CA" sz="2667" b="1" dirty="0">
                <a:solidFill>
                  <a:srgbClr val="FF0000"/>
                </a:solidFill>
              </a:rPr>
              <a:t> </a:t>
            </a:r>
            <a:r>
              <a:rPr lang="fr-CA" sz="2667" b="1" dirty="0" err="1">
                <a:solidFill>
                  <a:srgbClr val="FF0000"/>
                </a:solidFill>
              </a:rPr>
              <a:t>threaten</a:t>
            </a:r>
            <a:r>
              <a:rPr lang="fr-CA" sz="2667" b="1" dirty="0">
                <a:solidFill>
                  <a:srgbClr val="FF0000"/>
                </a:solidFill>
              </a:rPr>
              <a:t> social </a:t>
            </a:r>
            <a:r>
              <a:rPr lang="fr-CA" sz="2667" b="1" dirty="0" err="1">
                <a:solidFill>
                  <a:srgbClr val="FF0000"/>
                </a:solidFill>
              </a:rPr>
              <a:t>order</a:t>
            </a:r>
            <a:r>
              <a:rPr lang="fr-CA" sz="2667" b="1" dirty="0">
                <a:solidFill>
                  <a:srgbClr val="FF0000"/>
                </a:solidFill>
              </a:rPr>
              <a:t> and </a:t>
            </a:r>
            <a:r>
              <a:rPr lang="fr-CA" sz="2667" b="1" dirty="0" err="1">
                <a:solidFill>
                  <a:srgbClr val="FF0000"/>
                </a:solidFill>
              </a:rPr>
              <a:t>markets</a:t>
            </a:r>
            <a:endParaRPr sz="2667" dirty="0"/>
          </a:p>
          <a:p>
            <a:pPr marL="114297" indent="0" latinLnBrk="0">
              <a:buNone/>
            </a:pPr>
            <a:r>
              <a:rPr lang="fr-CA" sz="2667" dirty="0"/>
              <a:t>      EVEN IF WE SOLVE SAFETY/ALIGNMENT</a:t>
            </a:r>
          </a:p>
          <a:p>
            <a:pPr marL="114297" indent="0" latinLnBrk="0">
              <a:lnSpc>
                <a:spcPct val="0"/>
              </a:lnSpc>
              <a:buNone/>
            </a:pPr>
            <a:endParaRPr lang="fr-CA" sz="2667" dirty="0"/>
          </a:p>
          <a:p>
            <a:pPr marL="571486" indent="-457189" latinLnBrk="0"/>
            <a:r>
              <a:rPr lang="fr-CA" sz="3200" b="1" dirty="0" smtClean="0"/>
              <a:t>Democratic </a:t>
            </a:r>
            <a:r>
              <a:rPr lang="fr-CA" sz="3200" b="1" dirty="0" err="1" smtClean="0"/>
              <a:t>governance</a:t>
            </a:r>
            <a:r>
              <a:rPr lang="fr-CA" sz="3200" b="1" dirty="0" smtClean="0"/>
              <a:t> </a:t>
            </a:r>
            <a:r>
              <a:rPr lang="fr-CA" sz="3200" b="1" dirty="0" err="1" smtClean="0"/>
              <a:t>needed</a:t>
            </a:r>
            <a:r>
              <a:rPr lang="fr-CA" sz="3200" b="1" dirty="0" smtClean="0"/>
              <a:t>, </a:t>
            </a:r>
            <a:r>
              <a:rPr lang="fr-CA" sz="3200" b="1" dirty="0" err="1" smtClean="0"/>
              <a:t>with</a:t>
            </a:r>
            <a:r>
              <a:rPr lang="fr-CA" sz="3200" b="1" dirty="0"/>
              <a:t> </a:t>
            </a:r>
            <a:r>
              <a:rPr lang="fr-CA" sz="3200" b="1" dirty="0" smtClean="0"/>
              <a:t>civil society &amp;</a:t>
            </a:r>
            <a:r>
              <a:rPr lang="fr-CA" sz="3200" b="1" dirty="0" smtClean="0"/>
              <a:t> </a:t>
            </a:r>
            <a:r>
              <a:rPr lang="fr-CA" sz="3200" b="1" dirty="0" smtClean="0"/>
              <a:t>international </a:t>
            </a:r>
            <a:r>
              <a:rPr lang="fr-CA" sz="3200" b="1" dirty="0" err="1" smtClean="0"/>
              <a:t>representation</a:t>
            </a:r>
            <a:r>
              <a:rPr lang="fr-CA" sz="3200" b="1" dirty="0" smtClean="0"/>
              <a:t> / </a:t>
            </a:r>
            <a:r>
              <a:rPr lang="fr-CA" sz="3200" b="1" dirty="0" err="1" smtClean="0"/>
              <a:t>role</a:t>
            </a:r>
            <a:r>
              <a:rPr lang="fr-CA" sz="3200" b="1" dirty="0" smtClean="0"/>
              <a:t> of UN</a:t>
            </a:r>
            <a:endParaRPr sz="3200" b="1" dirty="0"/>
          </a:p>
        </p:txBody>
      </p:sp>
    </p:spTree>
    <p:extLst>
      <p:ext uri="{BB962C8B-B14F-4D97-AF65-F5344CB8AC3E}">
        <p14:creationId xmlns:p14="http://schemas.microsoft.com/office/powerpoint/2010/main" val="433509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" name="Google Shape;1241;p73"/>
          <p:cNvSpPr txBox="1">
            <a:spLocks noGrp="1"/>
          </p:cNvSpPr>
          <p:nvPr>
            <p:ph type="title"/>
          </p:nvPr>
        </p:nvSpPr>
        <p:spPr>
          <a:xfrm>
            <a:off x="838200" y="224448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r>
              <a:rPr lang="fr" sz="3600" dirty="0" err="1"/>
              <a:t>What</a:t>
            </a:r>
            <a:r>
              <a:rPr lang="fr" sz="3600" dirty="0"/>
              <a:t> </a:t>
            </a:r>
            <a:r>
              <a:rPr lang="fr" sz="3600" dirty="0" err="1"/>
              <a:t>we</a:t>
            </a:r>
            <a:r>
              <a:rPr lang="fr" sz="3600" dirty="0"/>
              <a:t> </a:t>
            </a:r>
            <a:r>
              <a:rPr lang="fr" sz="3600" dirty="0" err="1"/>
              <a:t>can</a:t>
            </a:r>
            <a:r>
              <a:rPr lang="fr" sz="3600" dirty="0"/>
              <a:t> do to </a:t>
            </a:r>
            <a:r>
              <a:rPr lang="fr" sz="3600" dirty="0" err="1"/>
              <a:t>mitigate</a:t>
            </a:r>
            <a:r>
              <a:rPr lang="fr" sz="3600" dirty="0"/>
              <a:t> </a:t>
            </a:r>
            <a:r>
              <a:rPr lang="fr" sz="3600" dirty="0" err="1"/>
              <a:t>harms</a:t>
            </a:r>
            <a:r>
              <a:rPr lang="fr" sz="3600" dirty="0"/>
              <a:t> &amp; </a:t>
            </a:r>
            <a:r>
              <a:rPr lang="fr" sz="3600" dirty="0" err="1"/>
              <a:t>risks</a:t>
            </a:r>
            <a:r>
              <a:rPr lang="fr" sz="3600" dirty="0"/>
              <a:t>?</a:t>
            </a:r>
            <a:endParaRPr sz="3600" dirty="0"/>
          </a:p>
        </p:txBody>
      </p:sp>
      <p:sp>
        <p:nvSpPr>
          <p:cNvPr id="1242" name="Google Shape;1242;p73"/>
          <p:cNvSpPr txBox="1">
            <a:spLocks noGrp="1"/>
          </p:cNvSpPr>
          <p:nvPr>
            <p:ph type="body" idx="1"/>
          </p:nvPr>
        </p:nvSpPr>
        <p:spPr>
          <a:xfrm>
            <a:off x="641268" y="1550011"/>
            <a:ext cx="10913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indent="0">
              <a:buNone/>
            </a:pPr>
            <a:r>
              <a:rPr lang="fr" sz="2800" dirty="0"/>
              <a:t>3 </a:t>
            </a:r>
            <a:r>
              <a:rPr lang="fr" sz="2800" dirty="0" err="1"/>
              <a:t>recommendations</a:t>
            </a:r>
            <a:r>
              <a:rPr lang="fr" sz="2800" dirty="0"/>
              <a:t> in </a:t>
            </a:r>
            <a:r>
              <a:rPr lang="fr" sz="2800" dirty="0" err="1"/>
              <a:t>testimony</a:t>
            </a:r>
            <a:r>
              <a:rPr lang="fr" sz="2800" dirty="0"/>
              <a:t> to US </a:t>
            </a:r>
            <a:r>
              <a:rPr lang="fr" sz="2800" dirty="0" err="1"/>
              <a:t>senate</a:t>
            </a:r>
            <a:r>
              <a:rPr lang="fr" sz="2800" dirty="0"/>
              <a:t> (July 2023):</a:t>
            </a:r>
            <a:endParaRPr sz="2800" dirty="0"/>
          </a:p>
          <a:p>
            <a:pPr marL="0" indent="0">
              <a:buNone/>
            </a:pPr>
            <a:endParaRPr sz="2800" dirty="0"/>
          </a:p>
          <a:p>
            <a:pPr marL="507987" indent="-499521">
              <a:buSzPts val="2100"/>
              <a:buFont typeface="Arial"/>
              <a:buAutoNum type="arabicPeriod"/>
            </a:pPr>
            <a:r>
              <a:rPr lang="fr" sz="2800" dirty="0"/>
              <a:t>National </a:t>
            </a:r>
            <a:r>
              <a:rPr lang="fr" sz="2800" b="1" dirty="0" err="1"/>
              <a:t>regulation</a:t>
            </a:r>
            <a:r>
              <a:rPr lang="fr" sz="2800" dirty="0"/>
              <a:t> + international </a:t>
            </a:r>
            <a:r>
              <a:rPr lang="fr" sz="2800" dirty="0" err="1"/>
              <a:t>treaties</a:t>
            </a:r>
            <a:r>
              <a:rPr lang="fr" sz="2800" dirty="0"/>
              <a:t>, </a:t>
            </a:r>
            <a:r>
              <a:rPr lang="fr" sz="2800" dirty="0" err="1"/>
              <a:t>reducing</a:t>
            </a:r>
            <a:r>
              <a:rPr lang="fr" sz="2800" dirty="0"/>
              <a:t> </a:t>
            </a:r>
            <a:r>
              <a:rPr lang="fr" sz="2800" dirty="0" err="1"/>
              <a:t>access</a:t>
            </a:r>
            <a:r>
              <a:rPr lang="fr" sz="2800" dirty="0"/>
              <a:t> and </a:t>
            </a:r>
            <a:r>
              <a:rPr lang="fr" sz="2800" dirty="0" err="1"/>
              <a:t>frontier</a:t>
            </a:r>
            <a:r>
              <a:rPr lang="fr" sz="2800" dirty="0"/>
              <a:t> </a:t>
            </a:r>
            <a:r>
              <a:rPr lang="fr" sz="2800" dirty="0" err="1"/>
              <a:t>development</a:t>
            </a:r>
            <a:r>
              <a:rPr lang="fr" sz="2800" dirty="0"/>
              <a:t> to </a:t>
            </a:r>
            <a:r>
              <a:rPr lang="fr" sz="2800" dirty="0" err="1"/>
              <a:t>licensed</a:t>
            </a:r>
            <a:r>
              <a:rPr lang="fr" sz="2800" dirty="0"/>
              <a:t> </a:t>
            </a:r>
            <a:r>
              <a:rPr lang="fr" sz="2800" dirty="0" err="1"/>
              <a:t>organizations</a:t>
            </a:r>
            <a:r>
              <a:rPr lang="en-US" sz="2800" dirty="0"/>
              <a:t> &amp; registered models,</a:t>
            </a:r>
            <a:r>
              <a:rPr lang="fr" sz="2800" dirty="0"/>
              <a:t> </a:t>
            </a:r>
            <a:r>
              <a:rPr lang="fr" sz="2800" dirty="0" err="1"/>
              <a:t>with</a:t>
            </a:r>
            <a:r>
              <a:rPr lang="fr" sz="2800" dirty="0"/>
              <a:t> audits, </a:t>
            </a:r>
            <a:r>
              <a:rPr lang="fr" sz="2800" dirty="0" err="1"/>
              <a:t>banning</a:t>
            </a:r>
            <a:r>
              <a:rPr lang="fr" sz="2800" dirty="0"/>
              <a:t> </a:t>
            </a:r>
            <a:r>
              <a:rPr lang="fr" sz="2800" dirty="0" err="1"/>
              <a:t>models</a:t>
            </a:r>
            <a:r>
              <a:rPr lang="en-US" sz="2800" dirty="0"/>
              <a:t> not proven safe</a:t>
            </a:r>
            <a:endParaRPr sz="2800" dirty="0"/>
          </a:p>
          <a:p>
            <a:pPr marL="507987" indent="-499521">
              <a:buSzPts val="2100"/>
              <a:buFont typeface="Arial"/>
              <a:buAutoNum type="arabicPeriod"/>
            </a:pPr>
            <a:r>
              <a:rPr lang="fr" sz="2800" dirty="0"/>
              <a:t>Major </a:t>
            </a:r>
            <a:r>
              <a:rPr lang="fr" sz="2800" dirty="0" err="1"/>
              <a:t>research</a:t>
            </a:r>
            <a:r>
              <a:rPr lang="fr" sz="2800" dirty="0"/>
              <a:t> </a:t>
            </a:r>
            <a:r>
              <a:rPr lang="fr" sz="2800" dirty="0" err="1"/>
              <a:t>investment</a:t>
            </a:r>
            <a:r>
              <a:rPr lang="fr" sz="2800" dirty="0"/>
              <a:t> in </a:t>
            </a:r>
            <a:r>
              <a:rPr lang="fr" sz="2800" b="1" dirty="0"/>
              <a:t>AI </a:t>
            </a:r>
            <a:r>
              <a:rPr lang="fr" sz="2800" b="1" dirty="0" err="1"/>
              <a:t>safety</a:t>
            </a:r>
            <a:r>
              <a:rPr lang="fr" sz="2800" dirty="0"/>
              <a:t>, to </a:t>
            </a:r>
            <a:r>
              <a:rPr lang="fr" sz="2800" dirty="0" err="1"/>
              <a:t>better</a:t>
            </a:r>
            <a:r>
              <a:rPr lang="fr" sz="2800" dirty="0"/>
              <a:t> </a:t>
            </a:r>
            <a:r>
              <a:rPr lang="fr" sz="2800" dirty="0" err="1"/>
              <a:t>understand</a:t>
            </a:r>
            <a:r>
              <a:rPr lang="fr" sz="2800" dirty="0"/>
              <a:t> </a:t>
            </a:r>
            <a:r>
              <a:rPr lang="fr" sz="2800" dirty="0" err="1"/>
              <a:t>risks</a:t>
            </a:r>
            <a:r>
              <a:rPr lang="fr" sz="2800" dirty="0"/>
              <a:t> and guide </a:t>
            </a:r>
            <a:r>
              <a:rPr lang="fr" sz="2800" dirty="0" err="1"/>
              <a:t>regulation</a:t>
            </a:r>
            <a:r>
              <a:rPr lang="fr" sz="2800" dirty="0"/>
              <a:t> (</a:t>
            </a:r>
            <a:r>
              <a:rPr lang="fr" sz="2800" dirty="0" err="1"/>
              <a:t>what</a:t>
            </a:r>
            <a:r>
              <a:rPr lang="fr" sz="2800" dirty="0"/>
              <a:t> </a:t>
            </a:r>
            <a:r>
              <a:rPr lang="fr" sz="2800" dirty="0" err="1"/>
              <a:t>threshold</a:t>
            </a:r>
            <a:r>
              <a:rPr lang="fr" sz="2800" dirty="0"/>
              <a:t> for danger? How to </a:t>
            </a:r>
            <a:r>
              <a:rPr lang="fr" sz="2800" dirty="0" err="1"/>
              <a:t>evaluate</a:t>
            </a:r>
            <a:r>
              <a:rPr lang="fr" sz="2800" dirty="0"/>
              <a:t> and benchmark </a:t>
            </a:r>
            <a:r>
              <a:rPr lang="fr" sz="2800" dirty="0" err="1"/>
              <a:t>risks</a:t>
            </a:r>
            <a:r>
              <a:rPr lang="fr" sz="2800" dirty="0"/>
              <a:t>?)</a:t>
            </a:r>
            <a:endParaRPr sz="2800" dirty="0"/>
          </a:p>
          <a:p>
            <a:pPr marL="507987" indent="-499521">
              <a:buSzPts val="2100"/>
              <a:buFont typeface="Arial"/>
              <a:buAutoNum type="arabicPeriod"/>
            </a:pPr>
            <a:r>
              <a:rPr lang="fr" sz="2800" dirty="0"/>
              <a:t>Plan B </a:t>
            </a:r>
            <a:r>
              <a:rPr lang="fr" sz="2800" dirty="0" err="1"/>
              <a:t>against</a:t>
            </a:r>
            <a:r>
              <a:rPr lang="fr" sz="2800" dirty="0"/>
              <a:t> the </a:t>
            </a:r>
            <a:r>
              <a:rPr lang="fr" sz="2800" dirty="0" err="1"/>
              <a:t>eventual</a:t>
            </a:r>
            <a:r>
              <a:rPr lang="fr" sz="2800" dirty="0"/>
              <a:t> </a:t>
            </a:r>
            <a:r>
              <a:rPr lang="fr" sz="2800" dirty="0" err="1"/>
              <a:t>emergence</a:t>
            </a:r>
            <a:r>
              <a:rPr lang="fr" sz="2800" dirty="0"/>
              <a:t> of AI-</a:t>
            </a:r>
            <a:r>
              <a:rPr lang="fr" sz="2800" dirty="0" err="1"/>
              <a:t>driven</a:t>
            </a:r>
            <a:r>
              <a:rPr lang="fr" sz="2800" dirty="0"/>
              <a:t> </a:t>
            </a:r>
            <a:r>
              <a:rPr lang="fr" sz="2800" dirty="0" err="1"/>
              <a:t>threats</a:t>
            </a:r>
            <a:r>
              <a:rPr lang="fr" sz="2800" dirty="0"/>
              <a:t> </a:t>
            </a:r>
            <a:r>
              <a:rPr lang="en-US" sz="2800" dirty="0"/>
              <a:t>from misuse or loss of control </a:t>
            </a:r>
            <a:r>
              <a:rPr lang="fr" sz="2800" dirty="0"/>
              <a:t>(</a:t>
            </a:r>
            <a:r>
              <a:rPr lang="fr" sz="2800" b="1" dirty="0" err="1"/>
              <a:t>countermeasures</a:t>
            </a:r>
            <a:r>
              <a:rPr lang="fr" sz="2800" dirty="0"/>
              <a:t>)</a:t>
            </a:r>
            <a:endParaRPr sz="2800" dirty="0"/>
          </a:p>
          <a:p>
            <a:pPr marL="457189" indent="-203195">
              <a:buNone/>
            </a:pPr>
            <a:endParaRPr dirty="0"/>
          </a:p>
          <a:p>
            <a:pPr marL="457189" indent="-203195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19093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0" name="Google Shape;1250;p74"/>
          <p:cNvSpPr txBox="1">
            <a:spLocks noGrp="1"/>
          </p:cNvSpPr>
          <p:nvPr>
            <p:ph type="body" idx="1"/>
          </p:nvPr>
        </p:nvSpPr>
        <p:spPr>
          <a:xfrm>
            <a:off x="1272000" y="1411800"/>
            <a:ext cx="10396800" cy="4034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57189">
              <a:lnSpc>
                <a:spcPct val="100000"/>
              </a:lnSpc>
              <a:spcBef>
                <a:spcPts val="0"/>
              </a:spcBef>
            </a:pPr>
            <a:r>
              <a:rPr lang="fr" sz="2400" dirty="0"/>
              <a:t>Imagine </a:t>
            </a:r>
            <a:r>
              <a:rPr lang="fr" sz="2400" dirty="0" err="1"/>
              <a:t>cyberattacks</a:t>
            </a:r>
            <a:r>
              <a:rPr lang="fr" sz="2400" dirty="0"/>
              <a:t> or </a:t>
            </a:r>
            <a:r>
              <a:rPr lang="fr" sz="2400" dirty="0" err="1"/>
              <a:t>bioweapon</a:t>
            </a:r>
            <a:r>
              <a:rPr lang="fr" sz="2400" dirty="0"/>
              <a:t> </a:t>
            </a:r>
            <a:r>
              <a:rPr lang="fr" sz="2400" dirty="0" err="1"/>
              <a:t>attacks</a:t>
            </a:r>
            <a:r>
              <a:rPr lang="fr" sz="2400" dirty="0"/>
              <a:t> by </a:t>
            </a:r>
            <a:r>
              <a:rPr lang="fr" sz="2400" dirty="0" err="1"/>
              <a:t>superhuman</a:t>
            </a:r>
            <a:r>
              <a:rPr lang="fr" sz="2400" dirty="0"/>
              <a:t> AI</a:t>
            </a:r>
            <a:endParaRPr sz="2400" dirty="0"/>
          </a:p>
          <a:p>
            <a:pPr marL="609585" indent="-457189">
              <a:lnSpc>
                <a:spcPct val="100000"/>
              </a:lnSpc>
              <a:spcBef>
                <a:spcPts val="1333"/>
              </a:spcBef>
            </a:pPr>
            <a:r>
              <a:rPr lang="fr" sz="2400" dirty="0" err="1"/>
              <a:t>We</a:t>
            </a:r>
            <a:r>
              <a:rPr lang="fr" sz="2400" dirty="0"/>
              <a:t> </a:t>
            </a:r>
            <a:r>
              <a:rPr lang="fr" sz="2400" dirty="0" err="1"/>
              <a:t>need</a:t>
            </a:r>
            <a:r>
              <a:rPr lang="fr" sz="2400" dirty="0"/>
              <a:t> </a:t>
            </a:r>
            <a:r>
              <a:rPr lang="fr" sz="2400" dirty="0" err="1"/>
              <a:t>another</a:t>
            </a:r>
            <a:r>
              <a:rPr lang="fr" sz="2400" dirty="0"/>
              <a:t> AI </a:t>
            </a:r>
            <a:r>
              <a:rPr lang="fr" sz="2400" dirty="0" err="1"/>
              <a:t>helping</a:t>
            </a:r>
            <a:r>
              <a:rPr lang="fr" sz="2400" dirty="0"/>
              <a:t> us design </a:t>
            </a:r>
            <a:r>
              <a:rPr lang="fr" sz="2400" dirty="0" err="1"/>
              <a:t>better</a:t>
            </a:r>
            <a:r>
              <a:rPr lang="fr" sz="2400" dirty="0"/>
              <a:t> </a:t>
            </a:r>
            <a:r>
              <a:rPr lang="fr" sz="2400" dirty="0" err="1"/>
              <a:t>defenses</a:t>
            </a:r>
            <a:r>
              <a:rPr lang="fr" sz="2400" dirty="0"/>
              <a:t> and monitoring, </a:t>
            </a:r>
            <a:r>
              <a:rPr lang="fr" sz="2400" dirty="0" err="1"/>
              <a:t>that</a:t>
            </a:r>
            <a:r>
              <a:rPr lang="fr" sz="2400" dirty="0"/>
              <a:t> </a:t>
            </a:r>
            <a:r>
              <a:rPr lang="fr" sz="2400" dirty="0" err="1"/>
              <a:t>can</a:t>
            </a:r>
            <a:r>
              <a:rPr lang="fr" sz="2400" dirty="0"/>
              <a:t> </a:t>
            </a:r>
            <a:r>
              <a:rPr lang="fr" sz="2400" dirty="0" err="1"/>
              <a:t>battle</a:t>
            </a:r>
            <a:r>
              <a:rPr lang="fr" sz="2400" dirty="0"/>
              <a:t> </a:t>
            </a:r>
            <a:r>
              <a:rPr lang="fr" sz="2400" dirty="0" err="1"/>
              <a:t>it</a:t>
            </a:r>
            <a:r>
              <a:rPr lang="fr" sz="2400" dirty="0"/>
              <a:t> out </a:t>
            </a:r>
            <a:r>
              <a:rPr lang="fr" sz="2400" dirty="0" err="1"/>
              <a:t>with</a:t>
            </a:r>
            <a:r>
              <a:rPr lang="fr" sz="2400" dirty="0"/>
              <a:t> the </a:t>
            </a:r>
            <a:r>
              <a:rPr lang="fr" sz="2400" dirty="0" err="1"/>
              <a:t>attacking</a:t>
            </a:r>
            <a:r>
              <a:rPr lang="fr" sz="2400" dirty="0"/>
              <a:t> AI</a:t>
            </a:r>
            <a:endParaRPr sz="2400" dirty="0"/>
          </a:p>
          <a:p>
            <a:pPr marL="0" indent="0">
              <a:lnSpc>
                <a:spcPct val="100000"/>
              </a:lnSpc>
              <a:spcBef>
                <a:spcPts val="1333"/>
              </a:spcBef>
              <a:buNone/>
            </a:pPr>
            <a:r>
              <a:rPr lang="fr" sz="2400" dirty="0"/>
              <a:t>But</a:t>
            </a:r>
            <a:endParaRPr sz="2400" dirty="0"/>
          </a:p>
          <a:p>
            <a:pPr marL="609585" indent="-457189">
              <a:lnSpc>
                <a:spcPct val="100000"/>
              </a:lnSpc>
              <a:spcBef>
                <a:spcPts val="1333"/>
              </a:spcBef>
            </a:pPr>
            <a:r>
              <a:rPr lang="fr" sz="2400" dirty="0"/>
              <a:t>It </a:t>
            </a:r>
            <a:r>
              <a:rPr lang="fr" sz="2400" dirty="0" err="1"/>
              <a:t>needs</a:t>
            </a:r>
            <a:r>
              <a:rPr lang="fr" sz="2400" dirty="0"/>
              <a:t> to </a:t>
            </a:r>
            <a:r>
              <a:rPr lang="fr" sz="2400" dirty="0" err="1"/>
              <a:t>be</a:t>
            </a:r>
            <a:r>
              <a:rPr lang="fr" sz="2400" dirty="0"/>
              <a:t> </a:t>
            </a:r>
            <a:r>
              <a:rPr lang="fr" sz="2400" dirty="0" err="1"/>
              <a:t>safe</a:t>
            </a:r>
            <a:r>
              <a:rPr lang="fr" sz="2400" dirty="0"/>
              <a:t>, </a:t>
            </a:r>
            <a:r>
              <a:rPr lang="fr" sz="2400" dirty="0" err="1"/>
              <a:t>secure</a:t>
            </a:r>
            <a:r>
              <a:rPr lang="fr" sz="2400" dirty="0"/>
              <a:t> &amp; in </a:t>
            </a:r>
            <a:r>
              <a:rPr lang="fr" sz="2400" dirty="0" err="1"/>
              <a:t>safe</a:t>
            </a:r>
            <a:r>
              <a:rPr lang="fr" sz="2400" dirty="0"/>
              <a:t> hands:</a:t>
            </a:r>
            <a:endParaRPr sz="2400" dirty="0"/>
          </a:p>
          <a:p>
            <a:pPr marL="1219170" lvl="1" indent="-440256">
              <a:lnSpc>
                <a:spcPct val="100000"/>
              </a:lnSpc>
              <a:spcBef>
                <a:spcPts val="1333"/>
              </a:spcBef>
              <a:buSzPts val="1600"/>
            </a:pPr>
            <a:r>
              <a:rPr lang="fr" sz="2133" dirty="0"/>
              <a:t>no </a:t>
            </a:r>
            <a:r>
              <a:rPr lang="fr" sz="2133" dirty="0" err="1"/>
              <a:t>runaway</a:t>
            </a:r>
            <a:r>
              <a:rPr lang="fr" sz="2133" dirty="0"/>
              <a:t> AI due to </a:t>
            </a:r>
            <a:r>
              <a:rPr lang="fr" sz="2133" dirty="0" err="1"/>
              <a:t>loss</a:t>
            </a:r>
            <a:r>
              <a:rPr lang="fr" sz="2133" dirty="0"/>
              <a:t> of control / </a:t>
            </a:r>
            <a:r>
              <a:rPr lang="fr" sz="2133" dirty="0" err="1"/>
              <a:t>misalignment</a:t>
            </a:r>
            <a:endParaRPr sz="2133" dirty="0"/>
          </a:p>
          <a:p>
            <a:pPr marL="1219170" lvl="1" indent="-440256">
              <a:lnSpc>
                <a:spcPct val="100000"/>
              </a:lnSpc>
              <a:spcBef>
                <a:spcPts val="1333"/>
              </a:spcBef>
              <a:buSzPts val="1600"/>
            </a:pPr>
            <a:r>
              <a:rPr lang="fr" sz="2133" dirty="0"/>
              <a:t>no </a:t>
            </a:r>
            <a:r>
              <a:rPr lang="fr" sz="2133" dirty="0" err="1"/>
              <a:t>leak</a:t>
            </a:r>
            <a:r>
              <a:rPr lang="fr" sz="2133" dirty="0"/>
              <a:t> / </a:t>
            </a:r>
            <a:r>
              <a:rPr lang="fr" sz="2133" dirty="0" err="1"/>
              <a:t>takeover</a:t>
            </a:r>
            <a:r>
              <a:rPr lang="fr" sz="2133" dirty="0"/>
              <a:t> by power-</a:t>
            </a:r>
            <a:r>
              <a:rPr lang="fr" sz="2133" dirty="0" err="1"/>
              <a:t>seeking</a:t>
            </a:r>
            <a:r>
              <a:rPr lang="fr" sz="2133" dirty="0"/>
              <a:t> </a:t>
            </a:r>
            <a:r>
              <a:rPr lang="fr" sz="2133" dirty="0" err="1"/>
              <a:t>humans</a:t>
            </a:r>
            <a:r>
              <a:rPr lang="fr" sz="2133" dirty="0"/>
              <a:t> → </a:t>
            </a:r>
            <a:r>
              <a:rPr lang="fr" sz="2133" b="1" dirty="0" err="1"/>
              <a:t>democratic</a:t>
            </a:r>
            <a:r>
              <a:rPr lang="fr" sz="2133" b="1" dirty="0"/>
              <a:t> </a:t>
            </a:r>
            <a:r>
              <a:rPr lang="fr" sz="2133" b="1" dirty="0" err="1"/>
              <a:t>governance</a:t>
            </a:r>
            <a:r>
              <a:rPr lang="fr" sz="2133" b="1" dirty="0"/>
              <a:t> </a:t>
            </a:r>
            <a:r>
              <a:rPr lang="fr" sz="2133" b="1" dirty="0" err="1"/>
              <a:t>is</a:t>
            </a:r>
            <a:r>
              <a:rPr lang="fr" sz="2133" b="1" dirty="0"/>
              <a:t> crucial</a:t>
            </a:r>
            <a:endParaRPr sz="2133" b="1" dirty="0"/>
          </a:p>
          <a:p>
            <a:pPr marL="609585" indent="-457189">
              <a:lnSpc>
                <a:spcPct val="100000"/>
              </a:lnSpc>
              <a:spcBef>
                <a:spcPts val="1333"/>
              </a:spcBef>
            </a:pPr>
            <a:r>
              <a:rPr lang="fr" sz="2400" dirty="0" err="1"/>
              <a:t>Defense</a:t>
            </a:r>
            <a:r>
              <a:rPr lang="fr" sz="2400" dirty="0"/>
              <a:t> </a:t>
            </a:r>
            <a:r>
              <a:rPr lang="fr" sz="2400" dirty="0" err="1"/>
              <a:t>may</a:t>
            </a:r>
            <a:r>
              <a:rPr lang="fr" sz="2400" dirty="0"/>
              <a:t> </a:t>
            </a:r>
            <a:r>
              <a:rPr lang="fr" sz="2400" dirty="0" err="1"/>
              <a:t>be</a:t>
            </a:r>
            <a:r>
              <a:rPr lang="fr" sz="2400" dirty="0"/>
              <a:t> more </a:t>
            </a:r>
            <a:r>
              <a:rPr lang="fr" sz="2400" dirty="0" err="1"/>
              <a:t>difficult</a:t>
            </a:r>
            <a:r>
              <a:rPr lang="fr" sz="2400" dirty="0"/>
              <a:t> </a:t>
            </a:r>
            <a:r>
              <a:rPr lang="fr" sz="2400" dirty="0" err="1"/>
              <a:t>than</a:t>
            </a:r>
            <a:r>
              <a:rPr lang="fr" sz="2400" dirty="0"/>
              <a:t> </a:t>
            </a:r>
            <a:r>
              <a:rPr lang="fr" sz="2400" dirty="0" err="1"/>
              <a:t>attack</a:t>
            </a:r>
            <a:endParaRPr sz="2400" dirty="0"/>
          </a:p>
          <a:p>
            <a:pPr marL="609585" indent="-457189">
              <a:lnSpc>
                <a:spcPct val="100000"/>
              </a:lnSpc>
              <a:spcBef>
                <a:spcPts val="1333"/>
              </a:spcBef>
            </a:pPr>
            <a:r>
              <a:rPr lang="fr" sz="2400" dirty="0" err="1"/>
              <a:t>Ideally</a:t>
            </a:r>
            <a:r>
              <a:rPr lang="fr" sz="2400" dirty="0"/>
              <a:t>, </a:t>
            </a:r>
            <a:r>
              <a:rPr lang="fr" sz="2400" dirty="0" err="1"/>
              <a:t>defense</a:t>
            </a:r>
            <a:r>
              <a:rPr lang="fr" sz="2400" dirty="0"/>
              <a:t> AI </a:t>
            </a:r>
            <a:r>
              <a:rPr lang="fr" sz="2400" dirty="0" err="1"/>
              <a:t>is</a:t>
            </a:r>
            <a:r>
              <a:rPr lang="fr" sz="2400" dirty="0"/>
              <a:t> </a:t>
            </a:r>
            <a:r>
              <a:rPr lang="fr" sz="2400" i="1" dirty="0"/>
              <a:t>more </a:t>
            </a:r>
            <a:r>
              <a:rPr lang="fr" sz="2400" i="1" dirty="0" err="1"/>
              <a:t>advanced</a:t>
            </a:r>
            <a:r>
              <a:rPr lang="fr" sz="2400" i="1" dirty="0"/>
              <a:t> </a:t>
            </a:r>
            <a:r>
              <a:rPr lang="fr" sz="2400" i="1" dirty="0" err="1"/>
              <a:t>than</a:t>
            </a:r>
            <a:r>
              <a:rPr lang="fr" sz="2400" i="1" dirty="0"/>
              <a:t> the </a:t>
            </a:r>
            <a:r>
              <a:rPr lang="fr" sz="2400" i="1" dirty="0" err="1"/>
              <a:t>attacking</a:t>
            </a:r>
            <a:r>
              <a:rPr lang="fr" sz="2400" i="1" dirty="0"/>
              <a:t> AI</a:t>
            </a:r>
            <a:endParaRPr sz="2400" i="1" dirty="0"/>
          </a:p>
          <a:p>
            <a:pPr marL="0" indent="0">
              <a:lnSpc>
                <a:spcPct val="100000"/>
              </a:lnSpc>
              <a:spcBef>
                <a:spcPts val="1333"/>
              </a:spcBef>
              <a:buNone/>
            </a:pPr>
            <a:endParaRPr sz="2400" dirty="0"/>
          </a:p>
          <a:p>
            <a:pPr marL="0" indent="0">
              <a:lnSpc>
                <a:spcPct val="100000"/>
              </a:lnSpc>
              <a:spcBef>
                <a:spcPts val="1333"/>
              </a:spcBef>
              <a:spcAft>
                <a:spcPts val="1333"/>
              </a:spcAft>
              <a:buNone/>
            </a:pPr>
            <a:endParaRPr sz="2400" dirty="0"/>
          </a:p>
        </p:txBody>
      </p:sp>
      <p:sp>
        <p:nvSpPr>
          <p:cNvPr id="1248" name="Google Shape;1248;p74"/>
          <p:cNvSpPr txBox="1">
            <a:spLocks noGrp="1"/>
          </p:cNvSpPr>
          <p:nvPr>
            <p:ph type="subTitle" idx="4294967295"/>
          </p:nvPr>
        </p:nvSpPr>
        <p:spPr>
          <a:xfrm>
            <a:off x="1151467" y="291233"/>
            <a:ext cx="10517200" cy="891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fr" sz="4000"/>
              <a:t>How to Counter a Superhuman AI?</a:t>
            </a:r>
            <a:endParaRPr sz="4000"/>
          </a:p>
        </p:txBody>
      </p:sp>
    </p:spTree>
    <p:extLst>
      <p:ext uri="{BB962C8B-B14F-4D97-AF65-F5344CB8AC3E}">
        <p14:creationId xmlns:p14="http://schemas.microsoft.com/office/powerpoint/2010/main" val="16876661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75"/>
          <p:cNvSpPr txBox="1">
            <a:spLocks noGrp="1"/>
          </p:cNvSpPr>
          <p:nvPr>
            <p:ph type="subTitle" idx="4294967295"/>
          </p:nvPr>
        </p:nvSpPr>
        <p:spPr>
          <a:xfrm>
            <a:off x="1151467" y="291233"/>
            <a:ext cx="7209600" cy="891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fr" sz="4000"/>
              <a:t>Avoiding the single point </a:t>
            </a:r>
            <a:br>
              <a:rPr lang="fr" sz="4000"/>
            </a:br>
            <a:r>
              <a:rPr lang="fr" sz="4000"/>
              <a:t>of failure</a:t>
            </a:r>
            <a:endParaRPr sz="4000"/>
          </a:p>
        </p:txBody>
      </p:sp>
      <p:sp>
        <p:nvSpPr>
          <p:cNvPr id="1259" name="Google Shape;1259;p75"/>
          <p:cNvSpPr txBox="1">
            <a:spLocks noGrp="1"/>
          </p:cNvSpPr>
          <p:nvPr>
            <p:ph type="body" idx="1"/>
          </p:nvPr>
        </p:nvSpPr>
        <p:spPr>
          <a:xfrm>
            <a:off x="1272000" y="1801533"/>
            <a:ext cx="10666000" cy="4034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57189">
              <a:lnSpc>
                <a:spcPct val="100000"/>
              </a:lnSpc>
              <a:spcBef>
                <a:spcPts val="0"/>
              </a:spcBef>
            </a:pPr>
            <a:r>
              <a:rPr lang="fr" sz="2400" dirty="0"/>
              <a:t>How </a:t>
            </a:r>
            <a:r>
              <a:rPr lang="fr" sz="2400" dirty="0" err="1"/>
              <a:t>can</a:t>
            </a:r>
            <a:r>
              <a:rPr lang="fr" sz="2400" dirty="0"/>
              <a:t> a </a:t>
            </a:r>
            <a:r>
              <a:rPr lang="fr" sz="2400" dirty="0" err="1"/>
              <a:t>democratic</a:t>
            </a:r>
            <a:r>
              <a:rPr lang="fr" sz="2400" dirty="0"/>
              <a:t> </a:t>
            </a:r>
            <a:r>
              <a:rPr lang="fr" sz="2400" dirty="0" err="1"/>
              <a:t>humanity</a:t>
            </a:r>
            <a:r>
              <a:rPr lang="fr" sz="2400" dirty="0"/>
              <a:t> </a:t>
            </a:r>
            <a:r>
              <a:rPr lang="fr" sz="2400" dirty="0" err="1"/>
              <a:t>be</a:t>
            </a:r>
            <a:r>
              <a:rPr lang="fr" sz="2400" dirty="0"/>
              <a:t> </a:t>
            </a:r>
            <a:br>
              <a:rPr lang="fr" sz="2400" dirty="0"/>
            </a:br>
            <a:r>
              <a:rPr lang="fr" sz="2400" dirty="0" err="1"/>
              <a:t>sustainable</a:t>
            </a:r>
            <a:r>
              <a:rPr lang="fr" sz="2400" dirty="0"/>
              <a:t> </a:t>
            </a:r>
            <a:r>
              <a:rPr lang="fr" sz="2400" dirty="0" err="1"/>
              <a:t>when</a:t>
            </a:r>
            <a:r>
              <a:rPr lang="fr" sz="2400" dirty="0"/>
              <a:t> </a:t>
            </a:r>
            <a:r>
              <a:rPr lang="fr" sz="2400" dirty="0" err="1"/>
              <a:t>superhuman</a:t>
            </a:r>
            <a:r>
              <a:rPr lang="fr" sz="2400" dirty="0"/>
              <a:t> AI </a:t>
            </a:r>
            <a:r>
              <a:rPr lang="fr" sz="2400" dirty="0" err="1"/>
              <a:t>systems</a:t>
            </a:r>
            <a:r>
              <a:rPr lang="fr" sz="2400" dirty="0"/>
              <a:t> </a:t>
            </a:r>
            <a:r>
              <a:rPr lang="fr" sz="2400" dirty="0" err="1"/>
              <a:t>can</a:t>
            </a:r>
            <a:r>
              <a:rPr lang="fr" sz="2400" dirty="0"/>
              <a:t> </a:t>
            </a:r>
            <a:r>
              <a:rPr lang="fr" sz="2400" dirty="0" err="1"/>
              <a:t>be</a:t>
            </a:r>
            <a:r>
              <a:rPr lang="fr" sz="2400" dirty="0"/>
              <a:t> </a:t>
            </a:r>
            <a:r>
              <a:rPr lang="fr" sz="2400" dirty="0" err="1"/>
              <a:t>built</a:t>
            </a:r>
            <a:r>
              <a:rPr lang="fr" sz="2400" dirty="0"/>
              <a:t>?</a:t>
            </a:r>
            <a:endParaRPr sz="2400" dirty="0"/>
          </a:p>
          <a:p>
            <a:pPr marL="609585" indent="-457189">
              <a:lnSpc>
                <a:spcPct val="100000"/>
              </a:lnSpc>
              <a:spcBef>
                <a:spcPts val="1333"/>
              </a:spcBef>
            </a:pPr>
            <a:r>
              <a:rPr lang="fr" sz="2400" dirty="0"/>
              <a:t>A single </a:t>
            </a:r>
            <a:r>
              <a:rPr lang="fr" sz="2400" dirty="0" err="1"/>
              <a:t>individual</a:t>
            </a:r>
            <a:r>
              <a:rPr lang="fr" sz="2400" dirty="0"/>
              <a:t>, corporation or </a:t>
            </a:r>
            <a:r>
              <a:rPr lang="fr" sz="2400" dirty="0" err="1"/>
              <a:t>government</a:t>
            </a:r>
            <a:r>
              <a:rPr lang="fr" sz="2400" dirty="0"/>
              <a:t> </a:t>
            </a:r>
            <a:r>
              <a:rPr lang="fr" sz="2400" dirty="0" err="1"/>
              <a:t>with</a:t>
            </a:r>
            <a:r>
              <a:rPr lang="fr" sz="2400" dirty="0"/>
              <a:t> </a:t>
            </a:r>
            <a:r>
              <a:rPr lang="fr" sz="2400" b="1" dirty="0" err="1"/>
              <a:t>too</a:t>
            </a:r>
            <a:r>
              <a:rPr lang="fr" sz="2400" b="1" dirty="0"/>
              <a:t> </a:t>
            </a:r>
            <a:r>
              <a:rPr lang="fr" sz="2400" b="1" dirty="0" err="1"/>
              <a:t>much</a:t>
            </a:r>
            <a:r>
              <a:rPr lang="fr" sz="2400" b="1" dirty="0"/>
              <a:t> control over a </a:t>
            </a:r>
            <a:r>
              <a:rPr lang="fr" sz="2400" b="1" dirty="0" err="1"/>
              <a:t>very</a:t>
            </a:r>
            <a:r>
              <a:rPr lang="fr" sz="2400" b="1" dirty="0"/>
              <a:t> </a:t>
            </a:r>
            <a:r>
              <a:rPr lang="fr" sz="2400" b="1" dirty="0" err="1"/>
              <a:t>powerful</a:t>
            </a:r>
            <a:r>
              <a:rPr lang="fr" sz="2400" b="1" dirty="0"/>
              <a:t> AI system </a:t>
            </a:r>
            <a:r>
              <a:rPr lang="fr" sz="2400" b="1" dirty="0" err="1"/>
              <a:t>could</a:t>
            </a:r>
            <a:r>
              <a:rPr lang="fr" sz="2400" b="1" dirty="0"/>
              <a:t> accrue </a:t>
            </a:r>
            <a:r>
              <a:rPr lang="fr" sz="2400" b="1" dirty="0" err="1"/>
              <a:t>so</a:t>
            </a:r>
            <a:r>
              <a:rPr lang="fr" sz="2400" b="1" dirty="0"/>
              <a:t> </a:t>
            </a:r>
            <a:r>
              <a:rPr lang="fr" sz="2400" b="1" dirty="0" err="1"/>
              <a:t>much</a:t>
            </a:r>
            <a:r>
              <a:rPr lang="fr" sz="2400" b="1" dirty="0"/>
              <a:t> power </a:t>
            </a:r>
            <a:r>
              <a:rPr lang="fr" sz="2400" b="1" dirty="0" err="1"/>
              <a:t>that</a:t>
            </a:r>
            <a:r>
              <a:rPr lang="fr" sz="2400" b="1" dirty="0"/>
              <a:t> </a:t>
            </a:r>
            <a:r>
              <a:rPr lang="fr" sz="2400" b="1" dirty="0" err="1"/>
              <a:t>others</a:t>
            </a:r>
            <a:r>
              <a:rPr lang="fr" sz="2400" b="1" dirty="0"/>
              <a:t> </a:t>
            </a:r>
            <a:r>
              <a:rPr lang="fr" sz="2400" b="1" dirty="0" err="1"/>
              <a:t>cannot</a:t>
            </a:r>
            <a:r>
              <a:rPr lang="fr" sz="2400" b="1" dirty="0"/>
              <a:t> stop </a:t>
            </a:r>
            <a:r>
              <a:rPr lang="fr" sz="2400" b="1" dirty="0" err="1"/>
              <a:t>them</a:t>
            </a:r>
            <a:r>
              <a:rPr lang="fr" sz="2400" b="1" dirty="0"/>
              <a:t> </a:t>
            </a:r>
            <a:r>
              <a:rPr lang="fr" sz="2400" b="1" dirty="0" err="1"/>
              <a:t>anymore</a:t>
            </a:r>
            <a:endParaRPr sz="2400" b="1" dirty="0"/>
          </a:p>
          <a:p>
            <a:pPr marL="609585" indent="-457189">
              <a:lnSpc>
                <a:spcPct val="100000"/>
              </a:lnSpc>
              <a:spcBef>
                <a:spcPts val="1333"/>
              </a:spcBef>
            </a:pPr>
            <a:r>
              <a:rPr lang="fr" sz="2400" dirty="0"/>
              <a:t>An </a:t>
            </a:r>
            <a:r>
              <a:rPr lang="fr" sz="2400" dirty="0" err="1"/>
              <a:t>individual</a:t>
            </a:r>
            <a:r>
              <a:rPr lang="fr" sz="2400" dirty="0"/>
              <a:t>, corporation or </a:t>
            </a:r>
            <a:r>
              <a:rPr lang="fr" sz="2400" dirty="0" err="1"/>
              <a:t>government</a:t>
            </a:r>
            <a:r>
              <a:rPr lang="fr" sz="2400" dirty="0"/>
              <a:t> </a:t>
            </a:r>
            <a:r>
              <a:rPr lang="fr" sz="2400" dirty="0" err="1"/>
              <a:t>could</a:t>
            </a:r>
            <a:r>
              <a:rPr lang="fr" sz="2400" dirty="0"/>
              <a:t> </a:t>
            </a:r>
            <a:r>
              <a:rPr lang="fr" sz="2400" dirty="0" err="1"/>
              <a:t>make</a:t>
            </a:r>
            <a:r>
              <a:rPr lang="fr" sz="2400" dirty="0"/>
              <a:t> a </a:t>
            </a:r>
            <a:r>
              <a:rPr lang="fr" sz="2400" dirty="0" err="1" smtClean="0"/>
              <a:t>mistake</a:t>
            </a:r>
            <a:r>
              <a:rPr lang="fr-CA" sz="2400" dirty="0" smtClean="0"/>
              <a:t> or </a:t>
            </a:r>
            <a:r>
              <a:rPr lang="fr-CA" sz="2400" dirty="0" err="1" smtClean="0"/>
              <a:t>play</a:t>
            </a:r>
            <a:r>
              <a:rPr lang="fr-CA" sz="2400" dirty="0" smtClean="0"/>
              <a:t> Frankenstein</a:t>
            </a:r>
            <a:r>
              <a:rPr lang="fr" sz="2400" dirty="0" smtClean="0"/>
              <a:t> </a:t>
            </a:r>
            <a:r>
              <a:rPr lang="fr" sz="2400" dirty="0"/>
              <a:t>→ </a:t>
            </a:r>
            <a:r>
              <a:rPr lang="fr" sz="2400" b="1" dirty="0" err="1"/>
              <a:t>autonomous</a:t>
            </a:r>
            <a:r>
              <a:rPr lang="fr" sz="2400" b="1" dirty="0"/>
              <a:t> rogue AI</a:t>
            </a:r>
            <a:r>
              <a:rPr lang="fr" sz="2400" dirty="0"/>
              <a:t>, new dominant </a:t>
            </a:r>
            <a:r>
              <a:rPr lang="fr" sz="2400" dirty="0" err="1"/>
              <a:t>species</a:t>
            </a:r>
            <a:endParaRPr sz="2400" dirty="0"/>
          </a:p>
          <a:p>
            <a:pPr marL="609585" indent="-457189">
              <a:lnSpc>
                <a:spcPct val="100000"/>
              </a:lnSpc>
              <a:spcBef>
                <a:spcPts val="1333"/>
              </a:spcBef>
            </a:pPr>
            <a:r>
              <a:rPr lang="fr" sz="2400" dirty="0" err="1"/>
              <a:t>Powerful</a:t>
            </a:r>
            <a:r>
              <a:rPr lang="fr" sz="2400" dirty="0"/>
              <a:t> </a:t>
            </a:r>
            <a:r>
              <a:rPr lang="fr" sz="2400" dirty="0" err="1"/>
              <a:t>AIs</a:t>
            </a:r>
            <a:r>
              <a:rPr lang="fr" sz="2400" dirty="0"/>
              <a:t> must </a:t>
            </a:r>
            <a:r>
              <a:rPr lang="fr" sz="2400" dirty="0" err="1"/>
              <a:t>be</a:t>
            </a:r>
            <a:r>
              <a:rPr lang="fr" sz="2400" dirty="0"/>
              <a:t> </a:t>
            </a:r>
            <a:r>
              <a:rPr lang="fr" sz="2400" dirty="0" err="1"/>
              <a:t>under</a:t>
            </a:r>
            <a:r>
              <a:rPr lang="fr" sz="2400" dirty="0"/>
              <a:t> </a:t>
            </a:r>
            <a:r>
              <a:rPr lang="fr" sz="2400" b="1" dirty="0" err="1"/>
              <a:t>very</a:t>
            </a:r>
            <a:r>
              <a:rPr lang="fr" sz="2400" b="1" dirty="0"/>
              <a:t> </a:t>
            </a:r>
            <a:r>
              <a:rPr lang="fr" sz="2400" b="1" dirty="0" err="1"/>
              <a:t>strong</a:t>
            </a:r>
            <a:r>
              <a:rPr lang="fr" sz="2400" b="1" dirty="0"/>
              <a:t> and inclusive (civil society, media, </a:t>
            </a:r>
            <a:r>
              <a:rPr lang="fr" sz="2400" b="1" dirty="0" err="1"/>
              <a:t>academics</a:t>
            </a:r>
            <a:r>
              <a:rPr lang="fr" sz="2400" b="1" dirty="0"/>
              <a:t>, </a:t>
            </a:r>
            <a:r>
              <a:rPr lang="fr" sz="2400" b="1" dirty="0" err="1"/>
              <a:t>governments</a:t>
            </a:r>
            <a:r>
              <a:rPr lang="fr" sz="2400" b="1" dirty="0"/>
              <a:t>) </a:t>
            </a:r>
            <a:r>
              <a:rPr lang="fr" sz="2400" b="1" dirty="0" err="1"/>
              <a:t>democratic</a:t>
            </a:r>
            <a:r>
              <a:rPr lang="fr" sz="2400" b="1" dirty="0"/>
              <a:t> </a:t>
            </a:r>
            <a:r>
              <a:rPr lang="fr" sz="2400" b="1" dirty="0" err="1"/>
              <a:t>governance</a:t>
            </a:r>
            <a:endParaRPr sz="2400" b="1" dirty="0"/>
          </a:p>
          <a:p>
            <a:pPr marL="0" indent="0">
              <a:lnSpc>
                <a:spcPct val="100000"/>
              </a:lnSpc>
              <a:spcBef>
                <a:spcPts val="1333"/>
              </a:spcBef>
              <a:spcAft>
                <a:spcPts val="1333"/>
              </a:spcAft>
              <a:buNone/>
            </a:pPr>
            <a:endParaRPr sz="2400" dirty="0"/>
          </a:p>
        </p:txBody>
      </p:sp>
      <p:pic>
        <p:nvPicPr>
          <p:cNvPr id="1260" name="Google Shape;1260;p75"/>
          <p:cNvPicPr preferRelativeResize="0"/>
          <p:nvPr/>
        </p:nvPicPr>
        <p:blipFill rotWithShape="1">
          <a:blip r:embed="rId3">
            <a:alphaModFix/>
          </a:blip>
          <a:srcRect r="10"/>
          <a:stretch/>
        </p:blipFill>
        <p:spPr>
          <a:xfrm>
            <a:off x="8361001" y="291234"/>
            <a:ext cx="3316668" cy="19717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6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" name="Google Shape;1267;p76"/>
          <p:cNvSpPr txBox="1">
            <a:spLocks noGrp="1"/>
          </p:cNvSpPr>
          <p:nvPr>
            <p:ph type="subTitle" idx="4294967295"/>
          </p:nvPr>
        </p:nvSpPr>
        <p:spPr>
          <a:xfrm>
            <a:off x="1151467" y="291233"/>
            <a:ext cx="10517200" cy="891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fr" sz="3600"/>
              <a:t>Proposal: A Multilateral Network of Classified AI Countermeasures Research Labs</a:t>
            </a:r>
            <a:endParaRPr sz="3600"/>
          </a:p>
          <a:p>
            <a:pPr marL="0" indent="0">
              <a:spcBef>
                <a:spcPts val="0"/>
              </a:spcBef>
              <a:buNone/>
            </a:pPr>
            <a:endParaRPr sz="4000"/>
          </a:p>
        </p:txBody>
      </p:sp>
      <p:sp>
        <p:nvSpPr>
          <p:cNvPr id="1269" name="Google Shape;1269;p76"/>
          <p:cNvSpPr txBox="1">
            <a:spLocks noGrp="1"/>
          </p:cNvSpPr>
          <p:nvPr>
            <p:ph type="body" idx="1"/>
          </p:nvPr>
        </p:nvSpPr>
        <p:spPr>
          <a:xfrm>
            <a:off x="1272000" y="1801533"/>
            <a:ext cx="10396800" cy="4034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48722">
              <a:lnSpc>
                <a:spcPct val="100000"/>
              </a:lnSpc>
              <a:spcBef>
                <a:spcPts val="0"/>
              </a:spcBef>
              <a:buSzPts val="1700"/>
            </a:pPr>
            <a:r>
              <a:rPr lang="fr" sz="2267" b="1" dirty="0"/>
              <a:t>To </a:t>
            </a:r>
            <a:r>
              <a:rPr lang="fr" sz="2267" b="1" dirty="0" err="1"/>
              <a:t>avoid</a:t>
            </a:r>
            <a:r>
              <a:rPr lang="fr" sz="2267" b="1" dirty="0"/>
              <a:t> single point of </a:t>
            </a:r>
            <a:r>
              <a:rPr lang="fr" sz="2267" b="1" dirty="0" err="1"/>
              <a:t>failure</a:t>
            </a:r>
            <a:r>
              <a:rPr lang="fr" sz="2267" b="1" dirty="0"/>
              <a:t>, </a:t>
            </a:r>
            <a:r>
              <a:rPr lang="fr-CA" sz="2267" b="1" dirty="0" err="1" smtClean="0"/>
              <a:t>across</a:t>
            </a:r>
            <a:r>
              <a:rPr lang="fr" sz="2267" b="1" dirty="0" smtClean="0"/>
              <a:t> </a:t>
            </a:r>
            <a:r>
              <a:rPr lang="fr" sz="2267" b="1" dirty="0"/>
              <a:t>multiple </a:t>
            </a:r>
            <a:r>
              <a:rPr lang="en-US" sz="2267" b="1" dirty="0"/>
              <a:t>like-minded </a:t>
            </a:r>
            <a:r>
              <a:rPr lang="fr" sz="2267" b="1" dirty="0" err="1"/>
              <a:t>democracies</a:t>
            </a:r>
            <a:endParaRPr sz="2267" b="1" dirty="0"/>
          </a:p>
          <a:p>
            <a:pPr marL="609585" indent="-448722">
              <a:lnSpc>
                <a:spcPct val="100000"/>
              </a:lnSpc>
              <a:spcBef>
                <a:spcPts val="1333"/>
              </a:spcBef>
              <a:buSzPts val="1700"/>
            </a:pPr>
            <a:r>
              <a:rPr lang="fr" sz="2267" dirty="0" err="1"/>
              <a:t>Collaborate</a:t>
            </a:r>
            <a:r>
              <a:rPr lang="fr" sz="2267" dirty="0"/>
              <a:t> w</a:t>
            </a:r>
            <a:r>
              <a:rPr lang="en-US" sz="2267" dirty="0"/>
              <a:t>/</a:t>
            </a:r>
            <a:r>
              <a:rPr lang="fr" sz="2267" dirty="0"/>
              <a:t> </a:t>
            </a:r>
            <a:r>
              <a:rPr lang="fr-CA" sz="2267" dirty="0" err="1" smtClean="0"/>
              <a:t>governments</a:t>
            </a:r>
            <a:r>
              <a:rPr lang="fr" sz="2267" dirty="0" smtClean="0"/>
              <a:t> </a:t>
            </a:r>
            <a:r>
              <a:rPr lang="fr" sz="2267" dirty="0"/>
              <a:t>for </a:t>
            </a:r>
            <a:r>
              <a:rPr lang="fr-CA" sz="2267" dirty="0" smtClean="0"/>
              <a:t>national </a:t>
            </a:r>
            <a:r>
              <a:rPr lang="fr-CA" sz="2267" dirty="0" err="1" smtClean="0"/>
              <a:t>security</a:t>
            </a:r>
            <a:r>
              <a:rPr lang="fr-CA" sz="2267" dirty="0" smtClean="0"/>
              <a:t> </a:t>
            </a:r>
            <a:r>
              <a:rPr lang="fr" sz="2267" dirty="0" smtClean="0"/>
              <a:t>expertise </a:t>
            </a:r>
            <a:r>
              <a:rPr lang="fr" sz="2267" dirty="0"/>
              <a:t>and </a:t>
            </a:r>
            <a:r>
              <a:rPr lang="fr" sz="2267" dirty="0" err="1"/>
              <a:t>deployment</a:t>
            </a:r>
            <a:endParaRPr sz="2267" dirty="0"/>
          </a:p>
          <a:p>
            <a:pPr marL="609585" indent="-448722">
              <a:lnSpc>
                <a:spcPct val="100000"/>
              </a:lnSpc>
              <a:spcBef>
                <a:spcPts val="1333"/>
              </a:spcBef>
              <a:buSzPts val="1700"/>
            </a:pPr>
            <a:r>
              <a:rPr lang="fr" sz="2267" dirty="0" err="1"/>
              <a:t>Labs</a:t>
            </a:r>
            <a:r>
              <a:rPr lang="fr" sz="2267" dirty="0"/>
              <a:t> </a:t>
            </a:r>
            <a:r>
              <a:rPr lang="fr" sz="2267" b="1" dirty="0" err="1"/>
              <a:t>share</a:t>
            </a:r>
            <a:r>
              <a:rPr lang="fr" sz="2267" b="1" dirty="0"/>
              <a:t> </a:t>
            </a:r>
            <a:r>
              <a:rPr lang="fr" sz="2267" b="1" dirty="0" err="1"/>
              <a:t>their</a:t>
            </a:r>
            <a:r>
              <a:rPr lang="fr" sz="2267" b="1" dirty="0"/>
              <a:t> </a:t>
            </a:r>
            <a:r>
              <a:rPr lang="fr" sz="2267" b="1" dirty="0" err="1"/>
              <a:t>advances</a:t>
            </a:r>
            <a:r>
              <a:rPr lang="fr" sz="2267" b="1" dirty="0"/>
              <a:t> </a:t>
            </a:r>
            <a:r>
              <a:rPr lang="fr" sz="2267" b="1" dirty="0" err="1"/>
              <a:t>within</a:t>
            </a:r>
            <a:r>
              <a:rPr lang="fr" sz="2267" b="1" dirty="0"/>
              <a:t> the network</a:t>
            </a:r>
            <a:r>
              <a:rPr lang="fr" sz="2267" dirty="0"/>
              <a:t>: </a:t>
            </a:r>
            <a:r>
              <a:rPr lang="fr" sz="2267" dirty="0" err="1"/>
              <a:t>robust</a:t>
            </a:r>
            <a:r>
              <a:rPr lang="fr" sz="2267" dirty="0"/>
              <a:t> in case one of the </a:t>
            </a:r>
            <a:r>
              <a:rPr lang="fr" sz="2267" dirty="0" err="1"/>
              <a:t>labs</a:t>
            </a:r>
            <a:r>
              <a:rPr lang="fr" sz="2267" dirty="0"/>
              <a:t> </a:t>
            </a:r>
            <a:r>
              <a:rPr lang="fr" sz="2267" dirty="0" err="1"/>
              <a:t>becomes</a:t>
            </a:r>
            <a:r>
              <a:rPr lang="fr" sz="2267" dirty="0"/>
              <a:t> rogue (due to </a:t>
            </a:r>
            <a:r>
              <a:rPr lang="fr" sz="2267" dirty="0" err="1"/>
              <a:t>humans</a:t>
            </a:r>
            <a:r>
              <a:rPr lang="fr" sz="2267" dirty="0"/>
              <a:t> </a:t>
            </a:r>
            <a:r>
              <a:rPr lang="fr" sz="2267" dirty="0" err="1"/>
              <a:t>seeking</a:t>
            </a:r>
            <a:r>
              <a:rPr lang="fr" sz="2267" dirty="0"/>
              <a:t> power or </a:t>
            </a:r>
            <a:r>
              <a:rPr lang="fr" sz="2267" dirty="0" err="1"/>
              <a:t>loss</a:t>
            </a:r>
            <a:r>
              <a:rPr lang="fr" sz="2267" dirty="0"/>
              <a:t> of control to rogue AI), </a:t>
            </a:r>
            <a:r>
              <a:rPr lang="fr" sz="2267" dirty="0" err="1"/>
              <a:t>balancing</a:t>
            </a:r>
            <a:r>
              <a:rPr lang="fr" sz="2267" dirty="0"/>
              <a:t> force </a:t>
            </a:r>
            <a:r>
              <a:rPr lang="en-US" sz="2267" dirty="0"/>
              <a:t>from</a:t>
            </a:r>
            <a:r>
              <a:rPr lang="fr" sz="2267" dirty="0"/>
              <a:t> the </a:t>
            </a:r>
            <a:r>
              <a:rPr lang="fr" sz="2267" dirty="0" err="1"/>
              <a:t>others</a:t>
            </a:r>
            <a:endParaRPr sz="2267" dirty="0"/>
          </a:p>
          <a:p>
            <a:pPr marL="609585" indent="-448722">
              <a:lnSpc>
                <a:spcPct val="100000"/>
              </a:lnSpc>
              <a:spcBef>
                <a:spcPts val="1333"/>
              </a:spcBef>
              <a:buSzPts val="1700"/>
            </a:pPr>
            <a:r>
              <a:rPr lang="fr" sz="2267" dirty="0" err="1"/>
              <a:t>Labs</a:t>
            </a:r>
            <a:r>
              <a:rPr lang="fr" sz="2267" dirty="0"/>
              <a:t> </a:t>
            </a:r>
            <a:r>
              <a:rPr lang="fr" sz="2267" dirty="0" err="1"/>
              <a:t>operate</a:t>
            </a:r>
            <a:r>
              <a:rPr lang="fr" sz="2267" dirty="0"/>
              <a:t> </a:t>
            </a:r>
            <a:r>
              <a:rPr lang="fr" sz="2267" dirty="0" err="1"/>
              <a:t>under</a:t>
            </a:r>
            <a:r>
              <a:rPr lang="fr" sz="2267" dirty="0"/>
              <a:t> a </a:t>
            </a:r>
            <a:r>
              <a:rPr lang="fr" sz="2267" b="1" dirty="0" err="1"/>
              <a:t>strong</a:t>
            </a:r>
            <a:r>
              <a:rPr lang="fr" sz="2267" b="1" dirty="0"/>
              <a:t> </a:t>
            </a:r>
            <a:r>
              <a:rPr lang="fr" sz="2267" b="1" dirty="0" err="1"/>
              <a:t>democratic</a:t>
            </a:r>
            <a:r>
              <a:rPr lang="fr" sz="2267" b="1" dirty="0"/>
              <a:t> </a:t>
            </a:r>
            <a:r>
              <a:rPr lang="fr" sz="2267" b="1" dirty="0" err="1"/>
              <a:t>governance</a:t>
            </a:r>
            <a:r>
              <a:rPr lang="fr" sz="2267" dirty="0"/>
              <a:t> and </a:t>
            </a:r>
            <a:r>
              <a:rPr lang="fr" sz="2267" dirty="0" err="1"/>
              <a:t>safety</a:t>
            </a:r>
            <a:r>
              <a:rPr lang="fr" sz="2267" dirty="0"/>
              <a:t> and </a:t>
            </a:r>
            <a:r>
              <a:rPr lang="fr" sz="2267" dirty="0" err="1"/>
              <a:t>security</a:t>
            </a:r>
            <a:r>
              <a:rPr lang="fr" sz="2267" dirty="0"/>
              <a:t> </a:t>
            </a:r>
            <a:r>
              <a:rPr lang="fr" sz="2267" dirty="0" err="1"/>
              <a:t>protocols</a:t>
            </a:r>
            <a:r>
              <a:rPr lang="fr" sz="2267" dirty="0"/>
              <a:t> to </a:t>
            </a:r>
            <a:r>
              <a:rPr lang="fr" sz="2267" dirty="0" err="1"/>
              <a:t>minimize</a:t>
            </a:r>
            <a:r>
              <a:rPr lang="fr" sz="2267" dirty="0"/>
              <a:t> </a:t>
            </a:r>
            <a:r>
              <a:rPr lang="fr" sz="2267" dirty="0" err="1"/>
              <a:t>such</a:t>
            </a:r>
            <a:r>
              <a:rPr lang="fr" sz="2267" dirty="0"/>
              <a:t> </a:t>
            </a:r>
            <a:r>
              <a:rPr lang="fr" sz="2267" dirty="0" err="1"/>
              <a:t>risks</a:t>
            </a:r>
            <a:r>
              <a:rPr lang="en-US" sz="2267" dirty="0"/>
              <a:t> &amp; define multilateral democratic mission &amp; oversight</a:t>
            </a:r>
            <a:endParaRPr sz="2267" dirty="0"/>
          </a:p>
          <a:p>
            <a:pPr marL="609585" indent="-448722">
              <a:lnSpc>
                <a:spcPct val="100000"/>
              </a:lnSpc>
              <a:spcBef>
                <a:spcPts val="1333"/>
              </a:spcBef>
              <a:buSzPts val="1700"/>
            </a:pPr>
            <a:r>
              <a:rPr lang="fr" sz="2267" dirty="0" err="1"/>
              <a:t>Research</a:t>
            </a:r>
            <a:r>
              <a:rPr lang="fr" sz="2267" dirty="0"/>
              <a:t> </a:t>
            </a:r>
            <a:r>
              <a:rPr lang="fr" sz="2267" dirty="0" err="1"/>
              <a:t>efficiency</a:t>
            </a:r>
            <a:r>
              <a:rPr lang="fr" sz="2267" dirty="0"/>
              <a:t> </a:t>
            </a:r>
            <a:r>
              <a:rPr lang="fr" sz="2267" dirty="0" err="1"/>
              <a:t>through</a:t>
            </a:r>
            <a:r>
              <a:rPr lang="fr" sz="2267" dirty="0"/>
              <a:t> </a:t>
            </a:r>
            <a:r>
              <a:rPr lang="fr" sz="2267" dirty="0" err="1"/>
              <a:t>independent</a:t>
            </a:r>
            <a:r>
              <a:rPr lang="fr" sz="2267" dirty="0"/>
              <a:t> </a:t>
            </a:r>
            <a:r>
              <a:rPr lang="fr" sz="2267" dirty="0" err="1"/>
              <a:t>research</a:t>
            </a:r>
            <a:r>
              <a:rPr lang="fr" sz="2267" dirty="0"/>
              <a:t> </a:t>
            </a:r>
            <a:r>
              <a:rPr lang="fr" sz="2267" dirty="0" smtClean="0"/>
              <a:t>directions</a:t>
            </a:r>
            <a:endParaRPr lang="fr-CA" sz="2267" dirty="0" smtClean="0"/>
          </a:p>
          <a:p>
            <a:pPr marL="609585" indent="-448722">
              <a:lnSpc>
                <a:spcPct val="100000"/>
              </a:lnSpc>
              <a:spcBef>
                <a:spcPts val="1333"/>
              </a:spcBef>
              <a:buSzPts val="1700"/>
            </a:pPr>
            <a:r>
              <a:rPr lang="fr-CA" sz="2267" dirty="0" err="1" smtClean="0"/>
              <a:t>Multilaterally</a:t>
            </a:r>
            <a:r>
              <a:rPr lang="fr-CA" sz="2267" dirty="0" smtClean="0"/>
              <a:t> </a:t>
            </a:r>
            <a:r>
              <a:rPr lang="fr-CA" sz="2267" dirty="0" err="1" smtClean="0"/>
              <a:t>shared</a:t>
            </a:r>
            <a:r>
              <a:rPr lang="fr-CA" sz="2267" dirty="0" smtClean="0"/>
              <a:t> mission: AI </a:t>
            </a:r>
            <a:r>
              <a:rPr lang="fr-CA" sz="2267" dirty="0" err="1" smtClean="0"/>
              <a:t>safety</a:t>
            </a:r>
            <a:r>
              <a:rPr lang="fr-CA" sz="2267" dirty="0" smtClean="0"/>
              <a:t>/</a:t>
            </a:r>
            <a:r>
              <a:rPr lang="fr-CA" sz="2267" dirty="0" err="1" smtClean="0"/>
              <a:t>alignment</a:t>
            </a:r>
            <a:r>
              <a:rPr lang="fr-CA" sz="2267" dirty="0" smtClean="0"/>
              <a:t> + </a:t>
            </a:r>
            <a:r>
              <a:rPr lang="fr-CA" sz="2267" dirty="0" err="1" smtClean="0"/>
              <a:t>countermeasures</a:t>
            </a:r>
            <a:r>
              <a:rPr lang="fr-CA" sz="2267" dirty="0" smtClean="0"/>
              <a:t>, 		</a:t>
            </a:r>
            <a:r>
              <a:rPr lang="fr-CA" sz="2267" b="1" dirty="0" err="1" smtClean="0"/>
              <a:t>only</a:t>
            </a:r>
            <a:r>
              <a:rPr lang="fr-CA" sz="2267" b="1" dirty="0" smtClean="0"/>
              <a:t> </a:t>
            </a:r>
            <a:r>
              <a:rPr lang="fr-CA" sz="2267" b="1" dirty="0" err="1" smtClean="0"/>
              <a:t>defensive</a:t>
            </a:r>
            <a:r>
              <a:rPr lang="fr-CA" sz="2267" b="1" dirty="0" smtClean="0"/>
              <a:t>, to </a:t>
            </a:r>
            <a:r>
              <a:rPr lang="fr-CA" sz="2267" b="1" dirty="0" err="1" smtClean="0"/>
              <a:t>mitigate</a:t>
            </a:r>
            <a:r>
              <a:rPr lang="fr-CA" sz="2267" b="1" dirty="0" smtClean="0"/>
              <a:t> AI </a:t>
            </a:r>
            <a:r>
              <a:rPr lang="fr-CA" sz="2267" b="1" dirty="0" err="1" smtClean="0"/>
              <a:t>arms</a:t>
            </a:r>
            <a:r>
              <a:rPr lang="fr-CA" sz="2267" b="1" dirty="0" smtClean="0"/>
              <a:t> race</a:t>
            </a:r>
            <a:endParaRPr sz="2267" b="1" dirty="0"/>
          </a:p>
          <a:p>
            <a:pPr marL="0" indent="0">
              <a:lnSpc>
                <a:spcPct val="100000"/>
              </a:lnSpc>
              <a:spcBef>
                <a:spcPts val="1333"/>
              </a:spcBef>
              <a:spcAft>
                <a:spcPts val="1333"/>
              </a:spcAft>
              <a:buNone/>
            </a:pPr>
            <a:endParaRPr sz="2400" dirty="0"/>
          </a:p>
        </p:txBody>
      </p:sp>
    </p:spTree>
    <p:extLst>
      <p:ext uri="{BB962C8B-B14F-4D97-AF65-F5344CB8AC3E}">
        <p14:creationId xmlns:p14="http://schemas.microsoft.com/office/powerpoint/2010/main" val="1228823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9J8YqthVGJ9lGIzyu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heme/theme1.xml><?xml version="1.0" encoding="utf-8"?>
<a:theme xmlns:a="http://schemas.openxmlformats.org/drawingml/2006/main" name="Office 테마">
  <a:themeElements>
    <a:clrScheme name="사용자 지정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사용자 지정 7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ila-2023">
  <a:themeElements>
    <a:clrScheme name="Simple Light">
      <a:dk1>
        <a:srgbClr val="662E7D"/>
      </a:dk1>
      <a:lt1>
        <a:srgbClr val="FFFFFF"/>
      </a:lt1>
      <a:dk2>
        <a:srgbClr val="59B9D2"/>
      </a:dk2>
      <a:lt2>
        <a:srgbClr val="F9B40D"/>
      </a:lt2>
      <a:accent1>
        <a:srgbClr val="F594BB"/>
      </a:accent1>
      <a:accent2>
        <a:srgbClr val="3FAE82"/>
      </a:accent2>
      <a:accent3>
        <a:srgbClr val="F0562A"/>
      </a:accent3>
      <a:accent4>
        <a:srgbClr val="D41647"/>
      </a:accent4>
      <a:accent5>
        <a:srgbClr val="363A44"/>
      </a:accent5>
      <a:accent6>
        <a:srgbClr val="F4F5F1"/>
      </a:accent6>
      <a:hlink>
        <a:srgbClr val="662E7D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hème Office">
  <a:themeElements>
    <a:clrScheme name="Bureau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테마">
  <a:themeElements>
    <a:clrScheme name="사용자 지정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사용자 지정 7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Mila_dec2020">
  <a:themeElements>
    <a:clrScheme name="Mila_dec2020">
      <a:dk1>
        <a:srgbClr val="6D006D"/>
      </a:dk1>
      <a:lt1>
        <a:srgbClr val="FFFFFF"/>
      </a:lt1>
      <a:dk2>
        <a:srgbClr val="A7A7A7"/>
      </a:dk2>
      <a:lt2>
        <a:srgbClr val="535353"/>
      </a:lt2>
      <a:accent1>
        <a:srgbClr val="6D006D"/>
      </a:accent1>
      <a:accent2>
        <a:srgbClr val="82CFBE"/>
      </a:accent2>
      <a:accent3>
        <a:srgbClr val="F7F1EB"/>
      </a:accent3>
      <a:accent4>
        <a:srgbClr val="250E2B"/>
      </a:accent4>
      <a:accent5>
        <a:srgbClr val="667CA3"/>
      </a:accent5>
      <a:accent6>
        <a:srgbClr val="6FC7B3"/>
      </a:accent6>
      <a:hlink>
        <a:srgbClr val="0000FF"/>
      </a:hlink>
      <a:folHlink>
        <a:srgbClr val="FF00FF"/>
      </a:folHlink>
    </a:clrScheme>
    <a:fontScheme name="Mila_dec2020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Mila_dec202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1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1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2_Office 테마">
  <a:themeElements>
    <a:clrScheme name="사용자 지정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사용자 지정 7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0_Template PPT Espace CDPQ">
  <a:themeElements>
    <a:clrScheme name="Personnalisé 82">
      <a:dk1>
        <a:srgbClr val="000000"/>
      </a:dk1>
      <a:lt1>
        <a:srgbClr val="FFFFFF"/>
      </a:lt1>
      <a:dk2>
        <a:srgbClr val="260F30"/>
      </a:dk2>
      <a:lt2>
        <a:srgbClr val="F2F2F2"/>
      </a:lt2>
      <a:accent1>
        <a:srgbClr val="260F30"/>
      </a:accent1>
      <a:accent2>
        <a:srgbClr val="6E006E"/>
      </a:accent2>
      <a:accent3>
        <a:srgbClr val="64536B"/>
      </a:accent3>
      <a:accent4>
        <a:srgbClr val="FFFFFF"/>
      </a:accent4>
      <a:accent5>
        <a:srgbClr val="FFFFFF"/>
      </a:accent5>
      <a:accent6>
        <a:srgbClr val="FFFFFF"/>
      </a:accent6>
      <a:hlink>
        <a:srgbClr val="6E006E"/>
      </a:hlink>
      <a:folHlink>
        <a:srgbClr val="6E006E"/>
      </a:folHlink>
    </a:clrScheme>
    <a:fontScheme name="Personnalisé 5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3C5E"/>
        </a:solidFill>
        <a:ln>
          <a:noFill/>
        </a:ln>
      </a:spPr>
      <a:bodyPr lIns="91372" tIns="45685" rIns="91372" bIns="45685" rtlCol="0" anchor="ctr"/>
      <a:lstStyle>
        <a:defPPr algn="ctr">
          <a:defRPr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</a:objectDefaults>
  <a:extraClrSchemeLst/>
  <a:extLst>
    <a:ext uri="{05A4C25C-085E-4340-85A3-A5531E510DB2}">
      <thm15:themeFamily xmlns:thm15="http://schemas.microsoft.com/office/thememl/2012/main" name="0113_gabarit_ecdpq_v3_160428" id="{E851074B-77B7-4B4E-ABC3-A33D08DE7F3E}" vid="{C8E0C075-D8A1-2146-B10B-662AE2BA6DA2}"/>
    </a:ext>
  </a:extLst>
</a:theme>
</file>

<file path=ppt/theme/theme8.xml><?xml version="1.0" encoding="utf-8"?>
<a:theme xmlns:a="http://schemas.openxmlformats.org/drawingml/2006/main" name="3_Mila_dec2020">
  <a:themeElements>
    <a:clrScheme name="Mila_dec2020">
      <a:dk1>
        <a:srgbClr val="6D006D"/>
      </a:dk1>
      <a:lt1>
        <a:srgbClr val="FFFFFF"/>
      </a:lt1>
      <a:dk2>
        <a:srgbClr val="A7A7A7"/>
      </a:dk2>
      <a:lt2>
        <a:srgbClr val="535353"/>
      </a:lt2>
      <a:accent1>
        <a:srgbClr val="6D006D"/>
      </a:accent1>
      <a:accent2>
        <a:srgbClr val="82CFBE"/>
      </a:accent2>
      <a:accent3>
        <a:srgbClr val="F7F1EB"/>
      </a:accent3>
      <a:accent4>
        <a:srgbClr val="250E2B"/>
      </a:accent4>
      <a:accent5>
        <a:srgbClr val="667CA3"/>
      </a:accent5>
      <a:accent6>
        <a:srgbClr val="6FC7B3"/>
      </a:accent6>
      <a:hlink>
        <a:srgbClr val="0000FF"/>
      </a:hlink>
      <a:folHlink>
        <a:srgbClr val="FF00FF"/>
      </a:folHlink>
    </a:clrScheme>
    <a:fontScheme name="Mila_dec2020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Mila_dec202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1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1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9.xml><?xml version="1.0" encoding="utf-8"?>
<a:theme xmlns:a="http://schemas.openxmlformats.org/drawingml/2006/main" name="1_Thème Office">
  <a:themeElements>
    <a:clrScheme name="Bureau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909</TotalTime>
  <Words>1878</Words>
  <Application>Microsoft Macintosh PowerPoint</Application>
  <PresentationFormat>Grand écran</PresentationFormat>
  <Paragraphs>230</Paragraphs>
  <Slides>32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9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54" baseType="lpstr">
      <vt:lpstr>Calibri</vt:lpstr>
      <vt:lpstr>Calibri Light</vt:lpstr>
      <vt:lpstr>Helvetica</vt:lpstr>
      <vt:lpstr>HK Grotesk</vt:lpstr>
      <vt:lpstr>Noto Sans CJK KR Medium</vt:lpstr>
      <vt:lpstr>Roboto</vt:lpstr>
      <vt:lpstr>Wingdings</vt:lpstr>
      <vt:lpstr>Work Sans</vt:lpstr>
      <vt:lpstr>Work Sans Medium</vt:lpstr>
      <vt:lpstr>Work Sans SemiBold</vt:lpstr>
      <vt:lpstr>맑은 고딕</vt:lpstr>
      <vt:lpstr>Arial</vt:lpstr>
      <vt:lpstr>Office 테마</vt:lpstr>
      <vt:lpstr>Mila-2023</vt:lpstr>
      <vt:lpstr>3_Thème Office</vt:lpstr>
      <vt:lpstr>1_Office 테마</vt:lpstr>
      <vt:lpstr>2_Mila_dec2020</vt:lpstr>
      <vt:lpstr>2_Office 테마</vt:lpstr>
      <vt:lpstr>10_Template PPT Espace CDPQ</vt:lpstr>
      <vt:lpstr>3_Mila_dec2020</vt:lpstr>
      <vt:lpstr>1_Thème Office</vt:lpstr>
      <vt:lpstr>Diapositive think-cell</vt:lpstr>
      <vt:lpstr>Towards Quantitative Safety Guarantees and Alignment</vt:lpstr>
      <vt:lpstr>Two Requirements to Avoid AI Catastrophes</vt:lpstr>
      <vt:lpstr>Misalignment Harms</vt:lpstr>
      <vt:lpstr>Coordination Harms</vt:lpstr>
      <vt:lpstr>Democracy vs Power Concentration</vt:lpstr>
      <vt:lpstr>What we can do to mitigate harms &amp; risks?</vt:lpstr>
      <vt:lpstr>Présentation PowerPoint</vt:lpstr>
      <vt:lpstr>Présentation PowerPoint</vt:lpstr>
      <vt:lpstr>Présentation PowerPoint</vt:lpstr>
      <vt:lpstr>Democratic governance of non-profit non-governmental countermeasures AI labs</vt:lpstr>
      <vt:lpstr>The danger with RL and maximizing rewards</vt:lpstr>
      <vt:lpstr>RL evil: Maximizing misalignment </vt:lpstr>
      <vt:lpstr>How RL + Compute Power = Reward Hacking</vt:lpstr>
      <vt:lpstr>How to build a useful &amp; harmless AI?</vt:lpstr>
      <vt:lpstr>The Problem with Maximum-Likelihood Models</vt:lpstr>
      <vt:lpstr>Bayesian Posteriors for Safe Uncertain Decisions</vt:lpstr>
      <vt:lpstr>Provable Safety for AI Agent: Rejecting Unsafe Actions with Quantitative Guarantee</vt:lpstr>
      <vt:lpstr>Bayesian Posteriors</vt:lpstr>
      <vt:lpstr>The Limitations of MCMC Methods </vt:lpstr>
      <vt:lpstr>Objective: Increase Compute  Increase Safety</vt:lpstr>
      <vt:lpstr>Why Rich Amortized Predictors?</vt:lpstr>
      <vt:lpstr>Modes of the Bayesian Posterior</vt:lpstr>
      <vt:lpstr>GFlowNets &amp; Bayesian posteriors</vt:lpstr>
      <vt:lpstr>Jointly Learning to Sample &amp; Marginalize</vt:lpstr>
      <vt:lpstr>Generating Compositional Objects Sequentially</vt:lpstr>
      <vt:lpstr>Bayesian Structure Learning with Generative Flow Networks</vt:lpstr>
      <vt:lpstr>Présentation PowerPoint</vt:lpstr>
      <vt:lpstr>GFlowNet Tutorial</vt:lpstr>
      <vt:lpstr>Enforcing Interpretability of Theories</vt:lpstr>
      <vt:lpstr>Obtaining Conservative Robustness </vt:lpstr>
      <vt:lpstr>Challenges towards an Aligned AI</vt:lpstr>
      <vt:lpstr>Présentation PowerPoint</vt:lpstr>
    </vt:vector>
  </TitlesOfParts>
  <Company/>
  <LinksUpToDate>false</LinksUpToDate>
  <SharedDoc>false</SharedDoc>
  <HyperlinksChanged>false</HyperlinksChanged>
  <AppVersion>15.002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3917</dc:creator>
  <cp:lastModifiedBy>Yoshua Bengio</cp:lastModifiedBy>
  <cp:revision>80</cp:revision>
  <dcterms:created xsi:type="dcterms:W3CDTF">2023-10-06T01:01:12Z</dcterms:created>
  <dcterms:modified xsi:type="dcterms:W3CDTF">2023-12-11T14:5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">
    <vt:lpwstr>NSCCustomProperty</vt:lpwstr>
  </property>
</Properties>
</file>